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3.xml" ContentType="application/vnd.openxmlformats-officedocument.them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4.xml" ContentType="application/vnd.openxmlformats-officedocument.them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5.xml" ContentType="application/vnd.openxmlformats-officedocument.them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6.xml" ContentType="application/vnd.openxmlformats-officedocument.theme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7.xml" ContentType="application/vnd.openxmlformats-officedocument.theme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8.xml" ContentType="application/vnd.openxmlformats-officedocument.theme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9.xml" ContentType="application/vnd.openxmlformats-officedocument.theme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heme/theme10.xml" ContentType="application/vnd.openxmlformats-officedocument.theme+xml"/>
  <Override PartName="/ppt/theme/theme11.xml" ContentType="application/vnd.openxmlformats-officedocument.theme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notesSlides/notesSlide1.xml" ContentType="application/vnd.openxmlformats-officedocument.presentationml.notesSlide+xml"/>
  <Override PartName="/ppt/media/image9.jpg" ContentType="image/jpg"/>
  <Override PartName="/ppt/media/image11.jpg" ContentType="image/jpg"/>
  <Override PartName="/ppt/media/image12.jpg" ContentType="image/jpg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authors.xml" ContentType="application/vnd.ms-powerpoint.author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21" r:id="rId4"/>
    <p:sldMasterId id="2147484001" r:id="rId5"/>
    <p:sldMasterId id="2147484010" r:id="rId6"/>
    <p:sldMasterId id="2147484019" r:id="rId7"/>
    <p:sldMasterId id="2147484028" r:id="rId8"/>
    <p:sldMasterId id="2147484037" r:id="rId9"/>
    <p:sldMasterId id="2147484046" r:id="rId10"/>
    <p:sldMasterId id="2147484055" r:id="rId11"/>
    <p:sldMasterId id="2147484064" r:id="rId12"/>
  </p:sldMasterIdLst>
  <p:notesMasterIdLst>
    <p:notesMasterId r:id="rId22"/>
  </p:notesMasterIdLst>
  <p:handoutMasterIdLst>
    <p:handoutMasterId r:id="rId23"/>
  </p:handoutMasterIdLst>
  <p:sldIdLst>
    <p:sldId id="2890" r:id="rId13"/>
    <p:sldId id="2904" r:id="rId14"/>
    <p:sldId id="2906" r:id="rId15"/>
    <p:sldId id="2908" r:id="rId16"/>
    <p:sldId id="2909" r:id="rId17"/>
    <p:sldId id="2892" r:id="rId18"/>
    <p:sldId id="2910" r:id="rId19"/>
    <p:sldId id="2911" r:id="rId20"/>
    <p:sldId id="2891" r:id="rId21"/>
  </p:sldIdLst>
  <p:sldSz cx="12192000" cy="6858000"/>
  <p:notesSz cx="6858000" cy="9144000"/>
  <p:custDataLst>
    <p:tags r:id="rId2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409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CA77A84-3BB7-5265-DDCC-7282212D4F97}" name="Ali gardezi" initials="Ag" userId="be767e143753057f" providerId="Windows Liv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9D9D9"/>
    <a:srgbClr val="E9F6DC"/>
    <a:srgbClr val="000000"/>
    <a:srgbClr val="EBF1FF"/>
    <a:srgbClr val="F3D26A"/>
    <a:srgbClr val="F7F7F7"/>
    <a:srgbClr val="E6E6E6"/>
    <a:srgbClr val="E1EAFF"/>
    <a:srgbClr val="D3EFCE"/>
    <a:srgbClr val="EBF6D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F031B4F-7A08-47B6-9BBE-3BE595172CA2}" v="170" dt="2023-02-16T02:19:42.483"/>
    <p1510:client id="{41F0A500-E4ED-4805-8D84-F6050E0C1B79}" v="10" dt="2023-02-16T03:54:33.78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795" autoAdjust="0"/>
    <p:restoredTop sz="93447" autoAdjust="0"/>
  </p:normalViewPr>
  <p:slideViewPr>
    <p:cSldViewPr snapToGrid="0">
      <p:cViewPr>
        <p:scale>
          <a:sx n="66" d="100"/>
          <a:sy n="66" d="100"/>
        </p:scale>
        <p:origin x="372" y="48"/>
      </p:cViewPr>
      <p:guideLst>
        <p:guide orient="horz" pos="2409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0" d="100"/>
        <a:sy n="60" d="100"/>
      </p:scale>
      <p:origin x="0" y="-6462"/>
    </p:cViewPr>
  </p:sorterViewPr>
  <p:notesViewPr>
    <p:cSldViewPr snapToGrid="0">
      <p:cViewPr varScale="1">
        <p:scale>
          <a:sx n="49" d="100"/>
          <a:sy n="49" d="100"/>
        </p:scale>
        <p:origin x="2674" y="43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26" Type="http://schemas.openxmlformats.org/officeDocument/2006/relationships/presProps" Target="presProps.xml"/><Relationship Id="rId72" Type="http://schemas.microsoft.com/office/2018/10/relationships/authors" Target="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9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5.xml"/><Relationship Id="rId25" Type="http://schemas.openxmlformats.org/officeDocument/2006/relationships/commentAuthors" Target="commentAuthors.xml"/><Relationship Id="rId71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4.xml"/><Relationship Id="rId20" Type="http://schemas.openxmlformats.org/officeDocument/2006/relationships/slide" Target="slides/slide8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tags" Target="tags/tag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3.xml"/><Relationship Id="rId23" Type="http://schemas.openxmlformats.org/officeDocument/2006/relationships/handoutMaster" Target="handoutMasters/handoutMaster1.xml"/><Relationship Id="rId28" Type="http://schemas.openxmlformats.org/officeDocument/2006/relationships/theme" Target="theme/theme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7.xml"/><Relationship Id="rId73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2.xml"/><Relationship Id="rId22" Type="http://schemas.openxmlformats.org/officeDocument/2006/relationships/notesMaster" Target="notesMasters/notesMaster1.xml"/><Relationship Id="rId27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urelien Domont" userId="6da7715ce44349b3" providerId="LiveId" clId="{265DD8CF-CBC9-48CF-B1AA-4E5F5FE7B8CC}"/>
    <pc:docChg chg="custSel modSld">
      <pc:chgData name="Aurelien Domont" userId="6da7715ce44349b3" providerId="LiveId" clId="{265DD8CF-CBC9-48CF-B1AA-4E5F5FE7B8CC}" dt="2023-02-13T02:42:57.748" v="19" actId="790"/>
      <pc:docMkLst>
        <pc:docMk/>
      </pc:docMkLst>
      <pc:sldChg chg="addSp delSp modSp mod">
        <pc:chgData name="Aurelien Domont" userId="6da7715ce44349b3" providerId="LiveId" clId="{265DD8CF-CBC9-48CF-B1AA-4E5F5FE7B8CC}" dt="2023-02-13T02:40:52.068" v="7" actId="478"/>
        <pc:sldMkLst>
          <pc:docMk/>
          <pc:sldMk cId="2071212216" sldId="2404"/>
        </pc:sldMkLst>
        <pc:spChg chg="add del mod">
          <ac:chgData name="Aurelien Domont" userId="6da7715ce44349b3" providerId="LiveId" clId="{265DD8CF-CBC9-48CF-B1AA-4E5F5FE7B8CC}" dt="2023-02-13T02:40:52.068" v="7" actId="478"/>
          <ac:spMkLst>
            <pc:docMk/>
            <pc:sldMk cId="2071212216" sldId="2404"/>
            <ac:spMk id="2" creationId="{B1518EBA-DF50-945F-E67D-013A3C7F9497}"/>
          </ac:spMkLst>
        </pc:spChg>
      </pc:sldChg>
      <pc:sldChg chg="modSp mod">
        <pc:chgData name="Aurelien Domont" userId="6da7715ce44349b3" providerId="LiveId" clId="{265DD8CF-CBC9-48CF-B1AA-4E5F5FE7B8CC}" dt="2023-02-13T02:41:18.200" v="8" actId="790"/>
        <pc:sldMkLst>
          <pc:docMk/>
          <pc:sldMk cId="3710951792" sldId="2534"/>
        </pc:sldMkLst>
        <pc:spChg chg="mod">
          <ac:chgData name="Aurelien Domont" userId="6da7715ce44349b3" providerId="LiveId" clId="{265DD8CF-CBC9-48CF-B1AA-4E5F5FE7B8CC}" dt="2023-02-13T02:41:18.200" v="8" actId="790"/>
          <ac:spMkLst>
            <pc:docMk/>
            <pc:sldMk cId="3710951792" sldId="2534"/>
            <ac:spMk id="9" creationId="{264AD83F-2678-C45A-8A97-0D84D5BCC0DF}"/>
          </ac:spMkLst>
        </pc:spChg>
      </pc:sldChg>
      <pc:sldChg chg="modSp mod">
        <pc:chgData name="Aurelien Domont" userId="6da7715ce44349b3" providerId="LiveId" clId="{265DD8CF-CBC9-48CF-B1AA-4E5F5FE7B8CC}" dt="2023-02-13T02:41:40.845" v="10" actId="2"/>
        <pc:sldMkLst>
          <pc:docMk/>
          <pc:sldMk cId="3015757233" sldId="2552"/>
        </pc:sldMkLst>
        <pc:spChg chg="mod">
          <ac:chgData name="Aurelien Domont" userId="6da7715ce44349b3" providerId="LiveId" clId="{265DD8CF-CBC9-48CF-B1AA-4E5F5FE7B8CC}" dt="2023-02-13T02:41:40.845" v="10" actId="2"/>
          <ac:spMkLst>
            <pc:docMk/>
            <pc:sldMk cId="3015757233" sldId="2552"/>
            <ac:spMk id="23" creationId="{65424981-8A44-56D5-7A28-1026C49EB10F}"/>
          </ac:spMkLst>
        </pc:spChg>
      </pc:sldChg>
      <pc:sldChg chg="modSp mod">
        <pc:chgData name="Aurelien Domont" userId="6da7715ce44349b3" providerId="LiveId" clId="{265DD8CF-CBC9-48CF-B1AA-4E5F5FE7B8CC}" dt="2023-02-13T02:41:48.230" v="12" actId="2"/>
        <pc:sldMkLst>
          <pc:docMk/>
          <pc:sldMk cId="2531193052" sldId="2586"/>
        </pc:sldMkLst>
        <pc:spChg chg="mod">
          <ac:chgData name="Aurelien Domont" userId="6da7715ce44349b3" providerId="LiveId" clId="{265DD8CF-CBC9-48CF-B1AA-4E5F5FE7B8CC}" dt="2023-02-13T02:41:48.230" v="12" actId="2"/>
          <ac:spMkLst>
            <pc:docMk/>
            <pc:sldMk cId="2531193052" sldId="2586"/>
            <ac:spMk id="5" creationId="{43E6F226-9105-109F-905F-1BAB4D3E5A6E}"/>
          </ac:spMkLst>
        </pc:spChg>
      </pc:sldChg>
      <pc:sldChg chg="modSp mod">
        <pc:chgData name="Aurelien Domont" userId="6da7715ce44349b3" providerId="LiveId" clId="{265DD8CF-CBC9-48CF-B1AA-4E5F5FE7B8CC}" dt="2023-02-13T02:41:55.436" v="13" actId="790"/>
        <pc:sldMkLst>
          <pc:docMk/>
          <pc:sldMk cId="1870678215" sldId="2589"/>
        </pc:sldMkLst>
        <pc:spChg chg="mod">
          <ac:chgData name="Aurelien Domont" userId="6da7715ce44349b3" providerId="LiveId" clId="{265DD8CF-CBC9-48CF-B1AA-4E5F5FE7B8CC}" dt="2023-02-13T02:41:55.436" v="13" actId="790"/>
          <ac:spMkLst>
            <pc:docMk/>
            <pc:sldMk cId="1870678215" sldId="2589"/>
            <ac:spMk id="16" creationId="{6C2BB713-9637-4B9B-938F-E9768876782A}"/>
          </ac:spMkLst>
        </pc:spChg>
      </pc:sldChg>
      <pc:sldChg chg="modSp mod">
        <pc:chgData name="Aurelien Domont" userId="6da7715ce44349b3" providerId="LiveId" clId="{265DD8CF-CBC9-48CF-B1AA-4E5F5FE7B8CC}" dt="2023-02-13T02:42:04.462" v="14" actId="313"/>
        <pc:sldMkLst>
          <pc:docMk/>
          <pc:sldMk cId="3987364234" sldId="2590"/>
        </pc:sldMkLst>
        <pc:spChg chg="mod">
          <ac:chgData name="Aurelien Domont" userId="6da7715ce44349b3" providerId="LiveId" clId="{265DD8CF-CBC9-48CF-B1AA-4E5F5FE7B8CC}" dt="2023-02-13T02:42:04.462" v="14" actId="313"/>
          <ac:spMkLst>
            <pc:docMk/>
            <pc:sldMk cId="3987364234" sldId="2590"/>
            <ac:spMk id="31" creationId="{54B27846-4CC2-CAB0-9435-56E1928738B0}"/>
          </ac:spMkLst>
        </pc:spChg>
      </pc:sldChg>
      <pc:sldChg chg="modSp mod">
        <pc:chgData name="Aurelien Domont" userId="6da7715ce44349b3" providerId="LiveId" clId="{265DD8CF-CBC9-48CF-B1AA-4E5F5FE7B8CC}" dt="2023-02-13T02:42:11.334" v="15" actId="313"/>
        <pc:sldMkLst>
          <pc:docMk/>
          <pc:sldMk cId="1134372063" sldId="2595"/>
        </pc:sldMkLst>
        <pc:spChg chg="mod">
          <ac:chgData name="Aurelien Domont" userId="6da7715ce44349b3" providerId="LiveId" clId="{265DD8CF-CBC9-48CF-B1AA-4E5F5FE7B8CC}" dt="2023-02-13T02:42:11.334" v="15" actId="313"/>
          <ac:spMkLst>
            <pc:docMk/>
            <pc:sldMk cId="1134372063" sldId="2595"/>
            <ac:spMk id="54" creationId="{AD8DB4BF-55C7-908F-1A25-A98F32D01489}"/>
          </ac:spMkLst>
        </pc:spChg>
      </pc:sldChg>
      <pc:sldChg chg="modSp mod">
        <pc:chgData name="Aurelien Domont" userId="6da7715ce44349b3" providerId="LiveId" clId="{265DD8CF-CBC9-48CF-B1AA-4E5F5FE7B8CC}" dt="2023-02-13T02:42:45.479" v="18" actId="790"/>
        <pc:sldMkLst>
          <pc:docMk/>
          <pc:sldMk cId="557752984" sldId="2629"/>
        </pc:sldMkLst>
        <pc:spChg chg="mod">
          <ac:chgData name="Aurelien Domont" userId="6da7715ce44349b3" providerId="LiveId" clId="{265DD8CF-CBC9-48CF-B1AA-4E5F5FE7B8CC}" dt="2023-02-13T02:42:45.479" v="18" actId="790"/>
          <ac:spMkLst>
            <pc:docMk/>
            <pc:sldMk cId="557752984" sldId="2629"/>
            <ac:spMk id="4" creationId="{471FDD12-2524-D2C4-61FC-BBD6D7EE5522}"/>
          </ac:spMkLst>
        </pc:spChg>
      </pc:sldChg>
      <pc:sldChg chg="modSp mod">
        <pc:chgData name="Aurelien Domont" userId="6da7715ce44349b3" providerId="LiveId" clId="{265DD8CF-CBC9-48CF-B1AA-4E5F5FE7B8CC}" dt="2023-02-13T02:41:31.657" v="9" actId="313"/>
        <pc:sldMkLst>
          <pc:docMk/>
          <pc:sldMk cId="2834671872" sldId="2699"/>
        </pc:sldMkLst>
        <pc:spChg chg="mod">
          <ac:chgData name="Aurelien Domont" userId="6da7715ce44349b3" providerId="LiveId" clId="{265DD8CF-CBC9-48CF-B1AA-4E5F5FE7B8CC}" dt="2023-02-13T02:41:31.657" v="9" actId="313"/>
          <ac:spMkLst>
            <pc:docMk/>
            <pc:sldMk cId="2834671872" sldId="2699"/>
            <ac:spMk id="6" creationId="{925DDD0A-01CE-7FB4-14EA-5618B9C4E995}"/>
          </ac:spMkLst>
        </pc:spChg>
      </pc:sldChg>
      <pc:sldChg chg="modSp mod">
        <pc:chgData name="Aurelien Domont" userId="6da7715ce44349b3" providerId="LiveId" clId="{265DD8CF-CBC9-48CF-B1AA-4E5F5FE7B8CC}" dt="2023-02-13T02:41:45.184" v="11" actId="2"/>
        <pc:sldMkLst>
          <pc:docMk/>
          <pc:sldMk cId="2628821654" sldId="2736"/>
        </pc:sldMkLst>
        <pc:spChg chg="mod">
          <ac:chgData name="Aurelien Domont" userId="6da7715ce44349b3" providerId="LiveId" clId="{265DD8CF-CBC9-48CF-B1AA-4E5F5FE7B8CC}" dt="2023-02-13T02:41:45.184" v="11" actId="2"/>
          <ac:spMkLst>
            <pc:docMk/>
            <pc:sldMk cId="2628821654" sldId="2736"/>
            <ac:spMk id="16" creationId="{6C2BB713-9637-4B9B-938F-E9768876782A}"/>
          </ac:spMkLst>
        </pc:spChg>
      </pc:sldChg>
      <pc:sldChg chg="modSp mod">
        <pc:chgData name="Aurelien Domont" userId="6da7715ce44349b3" providerId="LiveId" clId="{265DD8CF-CBC9-48CF-B1AA-4E5F5FE7B8CC}" dt="2023-02-13T02:42:19.502" v="16" actId="313"/>
        <pc:sldMkLst>
          <pc:docMk/>
          <pc:sldMk cId="3901388038" sldId="2742"/>
        </pc:sldMkLst>
        <pc:spChg chg="mod">
          <ac:chgData name="Aurelien Domont" userId="6da7715ce44349b3" providerId="LiveId" clId="{265DD8CF-CBC9-48CF-B1AA-4E5F5FE7B8CC}" dt="2023-02-13T02:42:19.502" v="16" actId="313"/>
          <ac:spMkLst>
            <pc:docMk/>
            <pc:sldMk cId="3901388038" sldId="2742"/>
            <ac:spMk id="4" creationId="{4E82E8B9-5089-9771-942B-0F797F4A3FA2}"/>
          </ac:spMkLst>
        </pc:spChg>
      </pc:sldChg>
      <pc:sldChg chg="modSp mod">
        <pc:chgData name="Aurelien Domont" userId="6da7715ce44349b3" providerId="LiveId" clId="{265DD8CF-CBC9-48CF-B1AA-4E5F5FE7B8CC}" dt="2023-02-13T02:42:23.002" v="17" actId="2"/>
        <pc:sldMkLst>
          <pc:docMk/>
          <pc:sldMk cId="1553889362" sldId="2746"/>
        </pc:sldMkLst>
        <pc:spChg chg="mod">
          <ac:chgData name="Aurelien Domont" userId="6da7715ce44349b3" providerId="LiveId" clId="{265DD8CF-CBC9-48CF-B1AA-4E5F5FE7B8CC}" dt="2023-02-13T02:42:23.002" v="17" actId="2"/>
          <ac:spMkLst>
            <pc:docMk/>
            <pc:sldMk cId="1553889362" sldId="2746"/>
            <ac:spMk id="5" creationId="{DC638C48-5F22-B95E-1931-D4A19D0E8A67}"/>
          </ac:spMkLst>
        </pc:spChg>
      </pc:sldChg>
      <pc:sldChg chg="modSp mod">
        <pc:chgData name="Aurelien Domont" userId="6da7715ce44349b3" providerId="LiveId" clId="{265DD8CF-CBC9-48CF-B1AA-4E5F5FE7B8CC}" dt="2023-02-13T02:42:57.748" v="19" actId="790"/>
        <pc:sldMkLst>
          <pc:docMk/>
          <pc:sldMk cId="2106791307" sldId="2785"/>
        </pc:sldMkLst>
        <pc:spChg chg="mod">
          <ac:chgData name="Aurelien Domont" userId="6da7715ce44349b3" providerId="LiveId" clId="{265DD8CF-CBC9-48CF-B1AA-4E5F5FE7B8CC}" dt="2023-02-13T02:42:57.748" v="19" actId="790"/>
          <ac:spMkLst>
            <pc:docMk/>
            <pc:sldMk cId="2106791307" sldId="2785"/>
            <ac:spMk id="4" creationId="{471FDD12-2524-D2C4-61FC-BBD6D7EE5522}"/>
          </ac:spMkLst>
        </pc:spChg>
      </pc:sldChg>
    </pc:docChg>
  </pc:docChgLst>
  <pc:docChgLst>
    <pc:chgData name="Aurelien Domont" userId="6da7715ce44349b3" providerId="LiveId" clId="{1F031B4F-7A08-47B6-9BBE-3BE595172CA2}"/>
    <pc:docChg chg="undo custSel addSld delSld modSld sldOrd">
      <pc:chgData name="Aurelien Domont" userId="6da7715ce44349b3" providerId="LiveId" clId="{1F031B4F-7A08-47B6-9BBE-3BE595172CA2}" dt="2023-02-16T02:23:01.068" v="3127" actId="113"/>
      <pc:docMkLst>
        <pc:docMk/>
      </pc:docMkLst>
      <pc:sldChg chg="add">
        <pc:chgData name="Aurelien Domont" userId="6da7715ce44349b3" providerId="LiveId" clId="{1F031B4F-7A08-47B6-9BBE-3BE595172CA2}" dt="2023-02-16T00:16:52.373" v="1764"/>
        <pc:sldMkLst>
          <pc:docMk/>
          <pc:sldMk cId="2853806433" sldId="1600"/>
        </pc:sldMkLst>
      </pc:sldChg>
      <pc:sldChg chg="modSp mod">
        <pc:chgData name="Aurelien Domont" userId="6da7715ce44349b3" providerId="LiveId" clId="{1F031B4F-7A08-47B6-9BBE-3BE595172CA2}" dt="2023-02-14T07:12:39.234" v="565" actId="20577"/>
        <pc:sldMkLst>
          <pc:docMk/>
          <pc:sldMk cId="1253290912" sldId="1747"/>
        </pc:sldMkLst>
        <pc:spChg chg="mod">
          <ac:chgData name="Aurelien Domont" userId="6da7715ce44349b3" providerId="LiveId" clId="{1F031B4F-7A08-47B6-9BBE-3BE595172CA2}" dt="2023-02-14T07:12:39.234" v="565" actId="20577"/>
          <ac:spMkLst>
            <pc:docMk/>
            <pc:sldMk cId="1253290912" sldId="1747"/>
            <ac:spMk id="6" creationId="{A1742A61-D9E3-7593-F8BC-49557DAD0C5C}"/>
          </ac:spMkLst>
        </pc:spChg>
      </pc:sldChg>
      <pc:sldChg chg="addSp delSp modSp mod">
        <pc:chgData name="Aurelien Domont" userId="6da7715ce44349b3" providerId="LiveId" clId="{1F031B4F-7A08-47B6-9BBE-3BE595172CA2}" dt="2023-02-15T03:30:07.603" v="856" actId="478"/>
        <pc:sldMkLst>
          <pc:docMk/>
          <pc:sldMk cId="3855801452" sldId="1787"/>
        </pc:sldMkLst>
        <pc:spChg chg="add del mod">
          <ac:chgData name="Aurelien Domont" userId="6da7715ce44349b3" providerId="LiveId" clId="{1F031B4F-7A08-47B6-9BBE-3BE595172CA2}" dt="2023-02-15T03:30:07.603" v="856" actId="478"/>
          <ac:spMkLst>
            <pc:docMk/>
            <pc:sldMk cId="3855801452" sldId="1787"/>
            <ac:spMk id="2" creationId="{1A5B2B8F-ECBD-BCCB-D7C5-30A6F3F6FCBC}"/>
          </ac:spMkLst>
        </pc:spChg>
      </pc:sldChg>
      <pc:sldChg chg="modSp mod">
        <pc:chgData name="Aurelien Domont" userId="6da7715ce44349b3" providerId="LiveId" clId="{1F031B4F-7A08-47B6-9BBE-3BE595172CA2}" dt="2023-02-14T05:30:47.004" v="372" actId="20577"/>
        <pc:sldMkLst>
          <pc:docMk/>
          <pc:sldMk cId="471658671" sldId="1930"/>
        </pc:sldMkLst>
        <pc:spChg chg="mod">
          <ac:chgData name="Aurelien Domont" userId="6da7715ce44349b3" providerId="LiveId" clId="{1F031B4F-7A08-47B6-9BBE-3BE595172CA2}" dt="2023-02-14T05:30:47.004" v="372" actId="20577"/>
          <ac:spMkLst>
            <pc:docMk/>
            <pc:sldMk cId="471658671" sldId="1930"/>
            <ac:spMk id="16" creationId="{6C2BB713-9637-4B9B-938F-E9768876782A}"/>
          </ac:spMkLst>
        </pc:spChg>
      </pc:sldChg>
      <pc:sldChg chg="addSp modSp">
        <pc:chgData name="Aurelien Domont" userId="6da7715ce44349b3" providerId="LiveId" clId="{1F031B4F-7A08-47B6-9BBE-3BE595172CA2}" dt="2023-02-15T23:58:52.315" v="1535"/>
        <pc:sldMkLst>
          <pc:docMk/>
          <pc:sldMk cId="1324642353" sldId="2152"/>
        </pc:sldMkLst>
        <pc:spChg chg="add mod">
          <ac:chgData name="Aurelien Domont" userId="6da7715ce44349b3" providerId="LiveId" clId="{1F031B4F-7A08-47B6-9BBE-3BE595172CA2}" dt="2023-02-15T23:58:52.315" v="1535"/>
          <ac:spMkLst>
            <pc:docMk/>
            <pc:sldMk cId="1324642353" sldId="2152"/>
            <ac:spMk id="2" creationId="{0898C608-E992-39DA-2BE9-ABDC62E273E4}"/>
          </ac:spMkLst>
        </pc:spChg>
      </pc:sldChg>
      <pc:sldChg chg="addSp modSp">
        <pc:chgData name="Aurelien Domont" userId="6da7715ce44349b3" providerId="LiveId" clId="{1F031B4F-7A08-47B6-9BBE-3BE595172CA2}" dt="2023-02-15T23:58:54.113" v="1536"/>
        <pc:sldMkLst>
          <pc:docMk/>
          <pc:sldMk cId="2226532108" sldId="2153"/>
        </pc:sldMkLst>
        <pc:spChg chg="add mod">
          <ac:chgData name="Aurelien Domont" userId="6da7715ce44349b3" providerId="LiveId" clId="{1F031B4F-7A08-47B6-9BBE-3BE595172CA2}" dt="2023-02-15T23:58:54.113" v="1536"/>
          <ac:spMkLst>
            <pc:docMk/>
            <pc:sldMk cId="2226532108" sldId="2153"/>
            <ac:spMk id="2" creationId="{A703C8B1-02FC-389E-319C-B55F884B15EB}"/>
          </ac:spMkLst>
        </pc:spChg>
      </pc:sldChg>
      <pc:sldChg chg="modSp add mod">
        <pc:chgData name="Aurelien Domont" userId="6da7715ce44349b3" providerId="LiveId" clId="{1F031B4F-7A08-47B6-9BBE-3BE595172CA2}" dt="2023-02-16T02:21:16.886" v="3099" actId="20577"/>
        <pc:sldMkLst>
          <pc:docMk/>
          <pc:sldMk cId="1203735008" sldId="2233"/>
        </pc:sldMkLst>
        <pc:spChg chg="mod">
          <ac:chgData name="Aurelien Domont" userId="6da7715ce44349b3" providerId="LiveId" clId="{1F031B4F-7A08-47B6-9BBE-3BE595172CA2}" dt="2023-02-16T02:21:16.886" v="3099" actId="20577"/>
          <ac:spMkLst>
            <pc:docMk/>
            <pc:sldMk cId="1203735008" sldId="2233"/>
            <ac:spMk id="16" creationId="{6C2BB713-9637-4B9B-938F-E9768876782A}"/>
          </ac:spMkLst>
        </pc:spChg>
        <pc:spChg chg="mod">
          <ac:chgData name="Aurelien Domont" userId="6da7715ce44349b3" providerId="LiveId" clId="{1F031B4F-7A08-47B6-9BBE-3BE595172CA2}" dt="2023-02-16T02:19:50.301" v="3061" actId="20577"/>
          <ac:spMkLst>
            <pc:docMk/>
            <pc:sldMk cId="1203735008" sldId="2233"/>
            <ac:spMk id="21" creationId="{66F0DAB8-53E8-17C9-4DD0-E8AF7C2E52E1}"/>
          </ac:spMkLst>
        </pc:spChg>
      </pc:sldChg>
      <pc:sldChg chg="addSp delSp modSp add mod">
        <pc:chgData name="Aurelien Domont" userId="6da7715ce44349b3" providerId="LiveId" clId="{1F031B4F-7A08-47B6-9BBE-3BE595172CA2}" dt="2023-02-16T02:22:45.003" v="3126" actId="1037"/>
        <pc:sldMkLst>
          <pc:docMk/>
          <pc:sldMk cId="2995647837" sldId="2340"/>
        </pc:sldMkLst>
        <pc:spChg chg="mod">
          <ac:chgData name="Aurelien Domont" userId="6da7715ce44349b3" providerId="LiveId" clId="{1F031B4F-7A08-47B6-9BBE-3BE595172CA2}" dt="2023-02-16T02:16:20.766" v="3035" actId="255"/>
          <ac:spMkLst>
            <pc:docMk/>
            <pc:sldMk cId="2995647837" sldId="2340"/>
            <ac:spMk id="3" creationId="{CE2529A3-BA97-486F-9E02-8DFAAA7D8D38}"/>
          </ac:spMkLst>
        </pc:spChg>
        <pc:spChg chg="add mod ord">
          <ac:chgData name="Aurelien Domont" userId="6da7715ce44349b3" providerId="LiveId" clId="{1F031B4F-7A08-47B6-9BBE-3BE595172CA2}" dt="2023-02-16T02:17:03.851" v="3044" actId="20577"/>
          <ac:spMkLst>
            <pc:docMk/>
            <pc:sldMk cId="2995647837" sldId="2340"/>
            <ac:spMk id="5" creationId="{3652B0D0-4619-CA01-7265-EF295462D0AB}"/>
          </ac:spMkLst>
        </pc:spChg>
        <pc:spChg chg="mod">
          <ac:chgData name="Aurelien Domont" userId="6da7715ce44349b3" providerId="LiveId" clId="{1F031B4F-7A08-47B6-9BBE-3BE595172CA2}" dt="2023-02-16T02:16:39.653" v="3043" actId="1036"/>
          <ac:spMkLst>
            <pc:docMk/>
            <pc:sldMk cId="2995647837" sldId="2340"/>
            <ac:spMk id="8" creationId="{4165C724-0F42-4853-AC91-842B9A95FB6C}"/>
          </ac:spMkLst>
        </pc:spChg>
        <pc:spChg chg="mod">
          <ac:chgData name="Aurelien Domont" userId="6da7715ce44349b3" providerId="LiveId" clId="{1F031B4F-7A08-47B6-9BBE-3BE595172CA2}" dt="2023-02-16T02:16:20.766" v="3035" actId="255"/>
          <ac:spMkLst>
            <pc:docMk/>
            <pc:sldMk cId="2995647837" sldId="2340"/>
            <ac:spMk id="16" creationId="{6C2BB713-9637-4B9B-938F-E9768876782A}"/>
          </ac:spMkLst>
        </pc:spChg>
        <pc:spChg chg="del mod">
          <ac:chgData name="Aurelien Domont" userId="6da7715ce44349b3" providerId="LiveId" clId="{1F031B4F-7A08-47B6-9BBE-3BE595172CA2}" dt="2023-02-16T02:16:01.898" v="3030" actId="478"/>
          <ac:spMkLst>
            <pc:docMk/>
            <pc:sldMk cId="2995647837" sldId="2340"/>
            <ac:spMk id="29" creationId="{8221B270-36B6-4108-B973-F2BFC4E4817D}"/>
          </ac:spMkLst>
        </pc:spChg>
        <pc:picChg chg="mod">
          <ac:chgData name="Aurelien Domont" userId="6da7715ce44349b3" providerId="LiveId" clId="{1F031B4F-7A08-47B6-9BBE-3BE595172CA2}" dt="2023-02-16T02:22:45.003" v="3126" actId="1037"/>
          <ac:picMkLst>
            <pc:docMk/>
            <pc:sldMk cId="2995647837" sldId="2340"/>
            <ac:picMk id="2" creationId="{226A1D50-9B4B-4CE7-A44A-3B681A2E6B95}"/>
          </ac:picMkLst>
        </pc:picChg>
        <pc:picChg chg="mod">
          <ac:chgData name="Aurelien Domont" userId="6da7715ce44349b3" providerId="LiveId" clId="{1F031B4F-7A08-47B6-9BBE-3BE595172CA2}" dt="2023-02-16T02:16:39.653" v="3043" actId="1036"/>
          <ac:picMkLst>
            <pc:docMk/>
            <pc:sldMk cId="2995647837" sldId="2340"/>
            <ac:picMk id="14" creationId="{5B754426-5C61-43CB-B563-7615286D2001}"/>
          </ac:picMkLst>
        </pc:picChg>
      </pc:sldChg>
      <pc:sldChg chg="delSp mod">
        <pc:chgData name="Aurelien Domont" userId="6da7715ce44349b3" providerId="LiveId" clId="{1F031B4F-7A08-47B6-9BBE-3BE595172CA2}" dt="2023-02-14T07:32:57.092" v="619" actId="478"/>
        <pc:sldMkLst>
          <pc:docMk/>
          <pc:sldMk cId="2873323927" sldId="2416"/>
        </pc:sldMkLst>
        <pc:spChg chg="del">
          <ac:chgData name="Aurelien Domont" userId="6da7715ce44349b3" providerId="LiveId" clId="{1F031B4F-7A08-47B6-9BBE-3BE595172CA2}" dt="2023-02-14T07:32:57.092" v="619" actId="478"/>
          <ac:spMkLst>
            <pc:docMk/>
            <pc:sldMk cId="2873323927" sldId="2416"/>
            <ac:spMk id="8" creationId="{A59D9EB3-E9B5-436C-B84C-64290C638E46}"/>
          </ac:spMkLst>
        </pc:spChg>
      </pc:sldChg>
      <pc:sldChg chg="delSp mod">
        <pc:chgData name="Aurelien Domont" userId="6da7715ce44349b3" providerId="LiveId" clId="{1F031B4F-7A08-47B6-9BBE-3BE595172CA2}" dt="2023-02-14T07:34:35.440" v="623" actId="478"/>
        <pc:sldMkLst>
          <pc:docMk/>
          <pc:sldMk cId="4013513185" sldId="2424"/>
        </pc:sldMkLst>
        <pc:spChg chg="del">
          <ac:chgData name="Aurelien Domont" userId="6da7715ce44349b3" providerId="LiveId" clId="{1F031B4F-7A08-47B6-9BBE-3BE595172CA2}" dt="2023-02-14T07:34:35.440" v="623" actId="478"/>
          <ac:spMkLst>
            <pc:docMk/>
            <pc:sldMk cId="4013513185" sldId="2424"/>
            <ac:spMk id="8" creationId="{A59D9EB3-E9B5-436C-B84C-64290C638E46}"/>
          </ac:spMkLst>
        </pc:spChg>
      </pc:sldChg>
      <pc:sldChg chg="delSp mod">
        <pc:chgData name="Aurelien Domont" userId="6da7715ce44349b3" providerId="LiveId" clId="{1F031B4F-7A08-47B6-9BBE-3BE595172CA2}" dt="2023-02-14T07:34:31.999" v="622" actId="478"/>
        <pc:sldMkLst>
          <pc:docMk/>
          <pc:sldMk cId="234968368" sldId="2425"/>
        </pc:sldMkLst>
        <pc:spChg chg="del">
          <ac:chgData name="Aurelien Domont" userId="6da7715ce44349b3" providerId="LiveId" clId="{1F031B4F-7A08-47B6-9BBE-3BE595172CA2}" dt="2023-02-14T07:34:31.999" v="622" actId="478"/>
          <ac:spMkLst>
            <pc:docMk/>
            <pc:sldMk cId="234968368" sldId="2425"/>
            <ac:spMk id="8" creationId="{A59D9EB3-E9B5-436C-B84C-64290C638E46}"/>
          </ac:spMkLst>
        </pc:spChg>
      </pc:sldChg>
      <pc:sldChg chg="delSp modSp mod">
        <pc:chgData name="Aurelien Domont" userId="6da7715ce44349b3" providerId="LiveId" clId="{1F031B4F-7A08-47B6-9BBE-3BE595172CA2}" dt="2023-02-14T07:34:37.959" v="624" actId="478"/>
        <pc:sldMkLst>
          <pc:docMk/>
          <pc:sldMk cId="811976027" sldId="2426"/>
        </pc:sldMkLst>
        <pc:spChg chg="del">
          <ac:chgData name="Aurelien Domont" userId="6da7715ce44349b3" providerId="LiveId" clId="{1F031B4F-7A08-47B6-9BBE-3BE595172CA2}" dt="2023-02-14T07:34:37.959" v="624" actId="478"/>
          <ac:spMkLst>
            <pc:docMk/>
            <pc:sldMk cId="811976027" sldId="2426"/>
            <ac:spMk id="8" creationId="{A59D9EB3-E9B5-436C-B84C-64290C638E46}"/>
          </ac:spMkLst>
        </pc:spChg>
        <pc:spChg chg="mod">
          <ac:chgData name="Aurelien Domont" userId="6da7715ce44349b3" providerId="LiveId" clId="{1F031B4F-7A08-47B6-9BBE-3BE595172CA2}" dt="2023-02-14T07:34:23.453" v="621" actId="20577"/>
          <ac:spMkLst>
            <pc:docMk/>
            <pc:sldMk cId="811976027" sldId="2426"/>
            <ac:spMk id="112" creationId="{7176793C-AA87-4217-BCE0-BCBC44DA53B0}"/>
          </ac:spMkLst>
        </pc:spChg>
      </pc:sldChg>
      <pc:sldChg chg="delSp mod">
        <pc:chgData name="Aurelien Domont" userId="6da7715ce44349b3" providerId="LiveId" clId="{1F031B4F-7A08-47B6-9BBE-3BE595172CA2}" dt="2023-02-14T07:34:48.896" v="625" actId="478"/>
        <pc:sldMkLst>
          <pc:docMk/>
          <pc:sldMk cId="658684134" sldId="2427"/>
        </pc:sldMkLst>
        <pc:spChg chg="del">
          <ac:chgData name="Aurelien Domont" userId="6da7715ce44349b3" providerId="LiveId" clId="{1F031B4F-7A08-47B6-9BBE-3BE595172CA2}" dt="2023-02-14T07:34:48.896" v="625" actId="478"/>
          <ac:spMkLst>
            <pc:docMk/>
            <pc:sldMk cId="658684134" sldId="2427"/>
            <ac:spMk id="8" creationId="{A59D9EB3-E9B5-436C-B84C-64290C638E46}"/>
          </ac:spMkLst>
        </pc:spChg>
      </pc:sldChg>
      <pc:sldChg chg="modSp mod">
        <pc:chgData name="Aurelien Domont" userId="6da7715ce44349b3" providerId="LiveId" clId="{1F031B4F-7A08-47B6-9BBE-3BE595172CA2}" dt="2023-02-14T05:45:19.256" v="411" actId="20577"/>
        <pc:sldMkLst>
          <pc:docMk/>
          <pc:sldMk cId="4024712621" sldId="2445"/>
        </pc:sldMkLst>
        <pc:spChg chg="mod">
          <ac:chgData name="Aurelien Domont" userId="6da7715ce44349b3" providerId="LiveId" clId="{1F031B4F-7A08-47B6-9BBE-3BE595172CA2}" dt="2023-02-14T05:45:19.256" v="411" actId="20577"/>
          <ac:spMkLst>
            <pc:docMk/>
            <pc:sldMk cId="4024712621" sldId="2445"/>
            <ac:spMk id="12" creationId="{E9269130-D11D-30F1-52A3-5B560039688A}"/>
          </ac:spMkLst>
        </pc:spChg>
        <pc:spChg chg="mod">
          <ac:chgData name="Aurelien Domont" userId="6da7715ce44349b3" providerId="LiveId" clId="{1F031B4F-7A08-47B6-9BBE-3BE595172CA2}" dt="2023-02-14T05:44:53.743" v="410" actId="20577"/>
          <ac:spMkLst>
            <pc:docMk/>
            <pc:sldMk cId="4024712621" sldId="2445"/>
            <ac:spMk id="18" creationId="{6CF691F5-8A64-58D2-F278-0CE266E4CE47}"/>
          </ac:spMkLst>
        </pc:spChg>
      </pc:sldChg>
      <pc:sldChg chg="addSp delSp modSp mod">
        <pc:chgData name="Aurelien Domont" userId="6da7715ce44349b3" providerId="LiveId" clId="{1F031B4F-7A08-47B6-9BBE-3BE595172CA2}" dt="2023-02-14T07:32:23.986" v="608"/>
        <pc:sldMkLst>
          <pc:docMk/>
          <pc:sldMk cId="1073031341" sldId="2449"/>
        </pc:sldMkLst>
        <pc:spChg chg="add mod">
          <ac:chgData name="Aurelien Domont" userId="6da7715ce44349b3" providerId="LiveId" clId="{1F031B4F-7A08-47B6-9BBE-3BE595172CA2}" dt="2023-02-14T07:32:23.986" v="608"/>
          <ac:spMkLst>
            <pc:docMk/>
            <pc:sldMk cId="1073031341" sldId="2449"/>
            <ac:spMk id="2" creationId="{87BC132D-29CC-93C7-B06D-327872C73E6E}"/>
          </ac:spMkLst>
        </pc:spChg>
        <pc:spChg chg="del">
          <ac:chgData name="Aurelien Domont" userId="6da7715ce44349b3" providerId="LiveId" clId="{1F031B4F-7A08-47B6-9BBE-3BE595172CA2}" dt="2023-02-14T07:32:23.768" v="607" actId="478"/>
          <ac:spMkLst>
            <pc:docMk/>
            <pc:sldMk cId="1073031341" sldId="2449"/>
            <ac:spMk id="8" creationId="{A59D9EB3-E9B5-436C-B84C-64290C638E46}"/>
          </ac:spMkLst>
        </pc:spChg>
      </pc:sldChg>
      <pc:sldChg chg="addSp modSp mod">
        <pc:chgData name="Aurelien Domont" userId="6da7715ce44349b3" providerId="LiveId" clId="{1F031B4F-7A08-47B6-9BBE-3BE595172CA2}" dt="2023-02-14T07:32:34.461" v="613" actId="1038"/>
        <pc:sldMkLst>
          <pc:docMk/>
          <pc:sldMk cId="1815912057" sldId="2450"/>
        </pc:sldMkLst>
        <pc:spChg chg="add mod">
          <ac:chgData name="Aurelien Domont" userId="6da7715ce44349b3" providerId="LiveId" clId="{1F031B4F-7A08-47B6-9BBE-3BE595172CA2}" dt="2023-02-14T07:32:34.461" v="613" actId="1038"/>
          <ac:spMkLst>
            <pc:docMk/>
            <pc:sldMk cId="1815912057" sldId="2450"/>
            <ac:spMk id="2" creationId="{CD02BBB6-729E-CEA6-DB3B-F74C25B19E99}"/>
          </ac:spMkLst>
        </pc:spChg>
      </pc:sldChg>
      <pc:sldChg chg="modSp mod">
        <pc:chgData name="Aurelien Domont" userId="6da7715ce44349b3" providerId="LiveId" clId="{1F031B4F-7A08-47B6-9BBE-3BE595172CA2}" dt="2023-02-13T03:06:29.543" v="288" actId="207"/>
        <pc:sldMkLst>
          <pc:docMk/>
          <pc:sldMk cId="2160862108" sldId="2487"/>
        </pc:sldMkLst>
        <pc:spChg chg="mod">
          <ac:chgData name="Aurelien Domont" userId="6da7715ce44349b3" providerId="LiveId" clId="{1F031B4F-7A08-47B6-9BBE-3BE595172CA2}" dt="2023-02-13T03:06:29.543" v="288" actId="207"/>
          <ac:spMkLst>
            <pc:docMk/>
            <pc:sldMk cId="2160862108" sldId="2487"/>
            <ac:spMk id="4" creationId="{E2BACFE8-7471-0CCA-33B7-2A753BB5E553}"/>
          </ac:spMkLst>
        </pc:spChg>
        <pc:spChg chg="mod">
          <ac:chgData name="Aurelien Domont" userId="6da7715ce44349b3" providerId="LiveId" clId="{1F031B4F-7A08-47B6-9BBE-3BE595172CA2}" dt="2023-02-13T03:03:22.007" v="129" actId="20577"/>
          <ac:spMkLst>
            <pc:docMk/>
            <pc:sldMk cId="2160862108" sldId="2487"/>
            <ac:spMk id="16" creationId="{6C2BB713-9637-4B9B-938F-E9768876782A}"/>
          </ac:spMkLst>
        </pc:spChg>
        <pc:picChg chg="mod">
          <ac:chgData name="Aurelien Domont" userId="6da7715ce44349b3" providerId="LiveId" clId="{1F031B4F-7A08-47B6-9BBE-3BE595172CA2}" dt="2023-02-13T03:01:25.967" v="47" actId="14100"/>
          <ac:picMkLst>
            <pc:docMk/>
            <pc:sldMk cId="2160862108" sldId="2487"/>
            <ac:picMk id="1026" creationId="{C627B5B4-3B99-6C76-9A9F-BBC9CE3BFE3D}"/>
          </ac:picMkLst>
        </pc:picChg>
      </pc:sldChg>
      <pc:sldChg chg="modSp mod ord">
        <pc:chgData name="Aurelien Domont" userId="6da7715ce44349b3" providerId="LiveId" clId="{1F031B4F-7A08-47B6-9BBE-3BE595172CA2}" dt="2023-02-16T02:23:01.068" v="3127" actId="113"/>
        <pc:sldMkLst>
          <pc:docMk/>
          <pc:sldMk cId="1158319604" sldId="2488"/>
        </pc:sldMkLst>
        <pc:spChg chg="mod">
          <ac:chgData name="Aurelien Domont" userId="6da7715ce44349b3" providerId="LiveId" clId="{1F031B4F-7A08-47B6-9BBE-3BE595172CA2}" dt="2023-02-16T02:23:01.068" v="3127" actId="113"/>
          <ac:spMkLst>
            <pc:docMk/>
            <pc:sldMk cId="1158319604" sldId="2488"/>
            <ac:spMk id="4" creationId="{E2BACFE8-7471-0CCA-33B7-2A753BB5E553}"/>
          </ac:spMkLst>
        </pc:spChg>
        <pc:spChg chg="mod">
          <ac:chgData name="Aurelien Domont" userId="6da7715ce44349b3" providerId="LiveId" clId="{1F031B4F-7A08-47B6-9BBE-3BE595172CA2}" dt="2023-02-13T03:10:06.409" v="329"/>
          <ac:spMkLst>
            <pc:docMk/>
            <pc:sldMk cId="1158319604" sldId="2488"/>
            <ac:spMk id="16" creationId="{6C2BB713-9637-4B9B-938F-E9768876782A}"/>
          </ac:spMkLst>
        </pc:spChg>
        <pc:picChg chg="mod">
          <ac:chgData name="Aurelien Domont" userId="6da7715ce44349b3" providerId="LiveId" clId="{1F031B4F-7A08-47B6-9BBE-3BE595172CA2}" dt="2023-02-13T03:01:33.616" v="51" actId="1076"/>
          <ac:picMkLst>
            <pc:docMk/>
            <pc:sldMk cId="1158319604" sldId="2488"/>
            <ac:picMk id="2050" creationId="{E735A548-F3D4-EC6F-2664-A02245193E63}"/>
          </ac:picMkLst>
        </pc:picChg>
      </pc:sldChg>
      <pc:sldChg chg="modSp mod ord">
        <pc:chgData name="Aurelien Domont" userId="6da7715ce44349b3" providerId="LiveId" clId="{1F031B4F-7A08-47B6-9BBE-3BE595172CA2}" dt="2023-02-13T03:06:54.438" v="293"/>
        <pc:sldMkLst>
          <pc:docMk/>
          <pc:sldMk cId="67415954" sldId="2489"/>
        </pc:sldMkLst>
        <pc:spChg chg="mod">
          <ac:chgData name="Aurelien Domont" userId="6da7715ce44349b3" providerId="LiveId" clId="{1F031B4F-7A08-47B6-9BBE-3BE595172CA2}" dt="2023-02-13T03:06:35.103" v="289" actId="207"/>
          <ac:spMkLst>
            <pc:docMk/>
            <pc:sldMk cId="67415954" sldId="2489"/>
            <ac:spMk id="4" creationId="{E2BACFE8-7471-0CCA-33B7-2A753BB5E553}"/>
          </ac:spMkLst>
        </pc:spChg>
        <pc:spChg chg="mod">
          <ac:chgData name="Aurelien Domont" userId="6da7715ce44349b3" providerId="LiveId" clId="{1F031B4F-7A08-47B6-9BBE-3BE595172CA2}" dt="2023-02-13T03:06:06.125" v="284" actId="20577"/>
          <ac:spMkLst>
            <pc:docMk/>
            <pc:sldMk cId="67415954" sldId="2489"/>
            <ac:spMk id="16" creationId="{6C2BB713-9637-4B9B-938F-E9768876782A}"/>
          </ac:spMkLst>
        </pc:spChg>
        <pc:picChg chg="mod">
          <ac:chgData name="Aurelien Domont" userId="6da7715ce44349b3" providerId="LiveId" clId="{1F031B4F-7A08-47B6-9BBE-3BE595172CA2}" dt="2023-02-13T03:01:42.133" v="63" actId="1038"/>
          <ac:picMkLst>
            <pc:docMk/>
            <pc:sldMk cId="67415954" sldId="2489"/>
            <ac:picMk id="3074" creationId="{BD6B3C8C-1E14-DC3D-4ECF-9C3F3DBF4104}"/>
          </ac:picMkLst>
        </pc:picChg>
      </pc:sldChg>
      <pc:sldChg chg="del">
        <pc:chgData name="Aurelien Domont" userId="6da7715ce44349b3" providerId="LiveId" clId="{1F031B4F-7A08-47B6-9BBE-3BE595172CA2}" dt="2023-02-16T00:16:57.813" v="1765" actId="47"/>
        <pc:sldMkLst>
          <pc:docMk/>
          <pc:sldMk cId="1255366533" sldId="2503"/>
        </pc:sldMkLst>
      </pc:sldChg>
      <pc:sldChg chg="addSp delSp modSp mod">
        <pc:chgData name="Aurelien Domont" userId="6da7715ce44349b3" providerId="LiveId" clId="{1F031B4F-7A08-47B6-9BBE-3BE595172CA2}" dt="2023-02-14T07:06:33.390" v="487" actId="478"/>
        <pc:sldMkLst>
          <pc:docMk/>
          <pc:sldMk cId="1621361002" sldId="2517"/>
        </pc:sldMkLst>
        <pc:spChg chg="add del mod">
          <ac:chgData name="Aurelien Domont" userId="6da7715ce44349b3" providerId="LiveId" clId="{1F031B4F-7A08-47B6-9BBE-3BE595172CA2}" dt="2023-02-14T07:06:33.390" v="487" actId="478"/>
          <ac:spMkLst>
            <pc:docMk/>
            <pc:sldMk cId="1621361002" sldId="2517"/>
            <ac:spMk id="2" creationId="{19191F02-0999-E51D-6F17-DF1FADA4AE4C}"/>
          </ac:spMkLst>
        </pc:spChg>
      </pc:sldChg>
      <pc:sldChg chg="modSp mod">
        <pc:chgData name="Aurelien Domont" userId="6da7715ce44349b3" providerId="LiveId" clId="{1F031B4F-7A08-47B6-9BBE-3BE595172CA2}" dt="2023-02-14T07:07:37.231" v="489" actId="20577"/>
        <pc:sldMkLst>
          <pc:docMk/>
          <pc:sldMk cId="3391907502" sldId="2524"/>
        </pc:sldMkLst>
        <pc:spChg chg="mod">
          <ac:chgData name="Aurelien Domont" userId="6da7715ce44349b3" providerId="LiveId" clId="{1F031B4F-7A08-47B6-9BBE-3BE595172CA2}" dt="2023-02-14T07:07:11.380" v="488" actId="20577"/>
          <ac:spMkLst>
            <pc:docMk/>
            <pc:sldMk cId="3391907502" sldId="2524"/>
            <ac:spMk id="4" creationId="{E5145D74-FB43-E084-503A-425B1F67C568}"/>
          </ac:spMkLst>
        </pc:spChg>
        <pc:spChg chg="mod">
          <ac:chgData name="Aurelien Domont" userId="6da7715ce44349b3" providerId="LiveId" clId="{1F031B4F-7A08-47B6-9BBE-3BE595172CA2}" dt="2023-02-14T07:07:37.231" v="489" actId="20577"/>
          <ac:spMkLst>
            <pc:docMk/>
            <pc:sldMk cId="3391907502" sldId="2524"/>
            <ac:spMk id="10" creationId="{202AD567-C1CF-6943-5B61-9EC751729222}"/>
          </ac:spMkLst>
        </pc:spChg>
      </pc:sldChg>
      <pc:sldChg chg="modSp mod">
        <pc:chgData name="Aurelien Domont" userId="6da7715ce44349b3" providerId="LiveId" clId="{1F031B4F-7A08-47B6-9BBE-3BE595172CA2}" dt="2023-02-14T07:07:52.419" v="490" actId="313"/>
        <pc:sldMkLst>
          <pc:docMk/>
          <pc:sldMk cId="2006761934" sldId="2525"/>
        </pc:sldMkLst>
        <pc:spChg chg="mod">
          <ac:chgData name="Aurelien Domont" userId="6da7715ce44349b3" providerId="LiveId" clId="{1F031B4F-7A08-47B6-9BBE-3BE595172CA2}" dt="2023-02-14T07:07:52.419" v="490" actId="313"/>
          <ac:spMkLst>
            <pc:docMk/>
            <pc:sldMk cId="2006761934" sldId="2525"/>
            <ac:spMk id="6" creationId="{846DB13D-C967-0131-8941-52965E4694B7}"/>
          </ac:spMkLst>
        </pc:spChg>
      </pc:sldChg>
      <pc:sldChg chg="modSp mod">
        <pc:chgData name="Aurelien Domont" userId="6da7715ce44349b3" providerId="LiveId" clId="{1F031B4F-7A08-47B6-9BBE-3BE595172CA2}" dt="2023-02-14T05:47:48.521" v="417" actId="20577"/>
        <pc:sldMkLst>
          <pc:docMk/>
          <pc:sldMk cId="114241174" sldId="2532"/>
        </pc:sldMkLst>
        <pc:spChg chg="mod">
          <ac:chgData name="Aurelien Domont" userId="6da7715ce44349b3" providerId="LiveId" clId="{1F031B4F-7A08-47B6-9BBE-3BE595172CA2}" dt="2023-02-14T05:47:30.928" v="415" actId="1037"/>
          <ac:spMkLst>
            <pc:docMk/>
            <pc:sldMk cId="114241174" sldId="2532"/>
            <ac:spMk id="2" creationId="{2C6F6A95-F0F0-2B63-F3A9-02D065C85F78}"/>
          </ac:spMkLst>
        </pc:spChg>
        <pc:spChg chg="mod">
          <ac:chgData name="Aurelien Domont" userId="6da7715ce44349b3" providerId="LiveId" clId="{1F031B4F-7A08-47B6-9BBE-3BE595172CA2}" dt="2023-02-14T05:47:39.211" v="416" actId="1038"/>
          <ac:spMkLst>
            <pc:docMk/>
            <pc:sldMk cId="114241174" sldId="2532"/>
            <ac:spMk id="9" creationId="{E2850080-E3F2-A2AA-AC40-8C36B1F06E22}"/>
          </ac:spMkLst>
        </pc:spChg>
        <pc:spChg chg="mod">
          <ac:chgData name="Aurelien Domont" userId="6da7715ce44349b3" providerId="LiveId" clId="{1F031B4F-7A08-47B6-9BBE-3BE595172CA2}" dt="2023-02-14T05:47:39.211" v="416" actId="1038"/>
          <ac:spMkLst>
            <pc:docMk/>
            <pc:sldMk cId="114241174" sldId="2532"/>
            <ac:spMk id="10" creationId="{2DCC5F5B-4EE6-925A-9842-85E3FBD36043}"/>
          </ac:spMkLst>
        </pc:spChg>
        <pc:spChg chg="mod">
          <ac:chgData name="Aurelien Domont" userId="6da7715ce44349b3" providerId="LiveId" clId="{1F031B4F-7A08-47B6-9BBE-3BE595172CA2}" dt="2023-02-14T05:47:30.928" v="415" actId="1037"/>
          <ac:spMkLst>
            <pc:docMk/>
            <pc:sldMk cId="114241174" sldId="2532"/>
            <ac:spMk id="11" creationId="{3AD51340-0E9C-4DB8-69D6-3919A5B62EFB}"/>
          </ac:spMkLst>
        </pc:spChg>
        <pc:spChg chg="mod">
          <ac:chgData name="Aurelien Domont" userId="6da7715ce44349b3" providerId="LiveId" clId="{1F031B4F-7A08-47B6-9BBE-3BE595172CA2}" dt="2023-02-14T05:47:39.211" v="416" actId="1038"/>
          <ac:spMkLst>
            <pc:docMk/>
            <pc:sldMk cId="114241174" sldId="2532"/>
            <ac:spMk id="12" creationId="{3CA19FC7-76BA-486F-C4AF-5D09B117E30D}"/>
          </ac:spMkLst>
        </pc:spChg>
        <pc:spChg chg="mod">
          <ac:chgData name="Aurelien Domont" userId="6da7715ce44349b3" providerId="LiveId" clId="{1F031B4F-7A08-47B6-9BBE-3BE595172CA2}" dt="2023-02-14T05:47:30.928" v="415" actId="1037"/>
          <ac:spMkLst>
            <pc:docMk/>
            <pc:sldMk cId="114241174" sldId="2532"/>
            <ac:spMk id="14" creationId="{4E14FA1D-86F2-982E-9B3B-B460D4063A53}"/>
          </ac:spMkLst>
        </pc:spChg>
        <pc:spChg chg="mod">
          <ac:chgData name="Aurelien Domont" userId="6da7715ce44349b3" providerId="LiveId" clId="{1F031B4F-7A08-47B6-9BBE-3BE595172CA2}" dt="2023-02-14T05:47:30.928" v="415" actId="1037"/>
          <ac:spMkLst>
            <pc:docMk/>
            <pc:sldMk cId="114241174" sldId="2532"/>
            <ac:spMk id="15" creationId="{79437310-8699-3D88-73A0-6FC09AF0B15C}"/>
          </ac:spMkLst>
        </pc:spChg>
        <pc:spChg chg="mod">
          <ac:chgData name="Aurelien Domont" userId="6da7715ce44349b3" providerId="LiveId" clId="{1F031B4F-7A08-47B6-9BBE-3BE595172CA2}" dt="2023-02-14T05:47:39.211" v="416" actId="1038"/>
          <ac:spMkLst>
            <pc:docMk/>
            <pc:sldMk cId="114241174" sldId="2532"/>
            <ac:spMk id="17" creationId="{79A3743F-46B9-10F6-4AC6-B48A76E66958}"/>
          </ac:spMkLst>
        </pc:spChg>
        <pc:spChg chg="mod">
          <ac:chgData name="Aurelien Domont" userId="6da7715ce44349b3" providerId="LiveId" clId="{1F031B4F-7A08-47B6-9BBE-3BE595172CA2}" dt="2023-02-14T05:47:30.928" v="415" actId="1037"/>
          <ac:spMkLst>
            <pc:docMk/>
            <pc:sldMk cId="114241174" sldId="2532"/>
            <ac:spMk id="19" creationId="{10ECE868-1D8B-491D-E8B2-91A631143294}"/>
          </ac:spMkLst>
        </pc:spChg>
        <pc:spChg chg="mod">
          <ac:chgData name="Aurelien Domont" userId="6da7715ce44349b3" providerId="LiveId" clId="{1F031B4F-7A08-47B6-9BBE-3BE595172CA2}" dt="2023-02-14T05:47:48.521" v="417" actId="20577"/>
          <ac:spMkLst>
            <pc:docMk/>
            <pc:sldMk cId="114241174" sldId="2532"/>
            <ac:spMk id="20" creationId="{F66C0503-CFBA-002B-4B48-2040C768ACA4}"/>
          </ac:spMkLst>
        </pc:spChg>
      </pc:sldChg>
      <pc:sldChg chg="modSp mod">
        <pc:chgData name="Aurelien Domont" userId="6da7715ce44349b3" providerId="LiveId" clId="{1F031B4F-7A08-47B6-9BBE-3BE595172CA2}" dt="2023-02-15T03:33:51.210" v="963" actId="179"/>
        <pc:sldMkLst>
          <pc:docMk/>
          <pc:sldMk cId="1460840373" sldId="2543"/>
        </pc:sldMkLst>
        <pc:spChg chg="mod">
          <ac:chgData name="Aurelien Domont" userId="6da7715ce44349b3" providerId="LiveId" clId="{1F031B4F-7A08-47B6-9BBE-3BE595172CA2}" dt="2023-02-15T03:33:51.210" v="963" actId="179"/>
          <ac:spMkLst>
            <pc:docMk/>
            <pc:sldMk cId="1460840373" sldId="2543"/>
            <ac:spMk id="7" creationId="{FD4CFDE0-758F-5D36-83C6-935DD69568FE}"/>
          </ac:spMkLst>
        </pc:spChg>
      </pc:sldChg>
      <pc:sldChg chg="modSp mod">
        <pc:chgData name="Aurelien Domont" userId="6da7715ce44349b3" providerId="LiveId" clId="{1F031B4F-7A08-47B6-9BBE-3BE595172CA2}" dt="2023-02-14T07:08:01.219" v="492" actId="313"/>
        <pc:sldMkLst>
          <pc:docMk/>
          <pc:sldMk cId="1171926163" sldId="2548"/>
        </pc:sldMkLst>
        <pc:spChg chg="mod">
          <ac:chgData name="Aurelien Domont" userId="6da7715ce44349b3" providerId="LiveId" clId="{1F031B4F-7A08-47B6-9BBE-3BE595172CA2}" dt="2023-02-14T07:08:01.219" v="492" actId="313"/>
          <ac:spMkLst>
            <pc:docMk/>
            <pc:sldMk cId="1171926163" sldId="2548"/>
            <ac:spMk id="42" creationId="{27EDED4D-891C-2F52-4944-3A431158D732}"/>
          </ac:spMkLst>
        </pc:spChg>
      </pc:sldChg>
      <pc:sldChg chg="delSp add del mod">
        <pc:chgData name="Aurelien Domont" userId="6da7715ce44349b3" providerId="LiveId" clId="{1F031B4F-7A08-47B6-9BBE-3BE595172CA2}" dt="2023-02-15T23:58:24.566" v="1533" actId="478"/>
        <pc:sldMkLst>
          <pc:docMk/>
          <pc:sldMk cId="2825689156" sldId="2551"/>
        </pc:sldMkLst>
        <pc:spChg chg="del">
          <ac:chgData name="Aurelien Domont" userId="6da7715ce44349b3" providerId="LiveId" clId="{1F031B4F-7A08-47B6-9BBE-3BE595172CA2}" dt="2023-02-15T23:58:24.566" v="1533" actId="478"/>
          <ac:spMkLst>
            <pc:docMk/>
            <pc:sldMk cId="2825689156" sldId="2551"/>
            <ac:spMk id="8" creationId="{A59D9EB3-E9B5-436C-B84C-64290C638E46}"/>
          </ac:spMkLst>
        </pc:spChg>
      </pc:sldChg>
      <pc:sldChg chg="delSp add del mod">
        <pc:chgData name="Aurelien Domont" userId="6da7715ce44349b3" providerId="LiveId" clId="{1F031B4F-7A08-47B6-9BBE-3BE595172CA2}" dt="2023-02-15T23:58:20.895" v="1532" actId="478"/>
        <pc:sldMkLst>
          <pc:docMk/>
          <pc:sldMk cId="3015757233" sldId="2552"/>
        </pc:sldMkLst>
        <pc:spChg chg="del">
          <ac:chgData name="Aurelien Domont" userId="6da7715ce44349b3" providerId="LiveId" clId="{1F031B4F-7A08-47B6-9BBE-3BE595172CA2}" dt="2023-02-15T23:58:20.895" v="1532" actId="478"/>
          <ac:spMkLst>
            <pc:docMk/>
            <pc:sldMk cId="3015757233" sldId="2552"/>
            <ac:spMk id="8" creationId="{A59D9EB3-E9B5-436C-B84C-64290C638E46}"/>
          </ac:spMkLst>
        </pc:spChg>
      </pc:sldChg>
      <pc:sldChg chg="delSp add del mod">
        <pc:chgData name="Aurelien Domont" userId="6da7715ce44349b3" providerId="LiveId" clId="{1F031B4F-7A08-47B6-9BBE-3BE595172CA2}" dt="2023-02-15T23:58:12.174" v="1530" actId="478"/>
        <pc:sldMkLst>
          <pc:docMk/>
          <pc:sldMk cId="2341912036" sldId="2553"/>
        </pc:sldMkLst>
        <pc:spChg chg="del">
          <ac:chgData name="Aurelien Domont" userId="6da7715ce44349b3" providerId="LiveId" clId="{1F031B4F-7A08-47B6-9BBE-3BE595172CA2}" dt="2023-02-15T23:58:12.174" v="1530" actId="478"/>
          <ac:spMkLst>
            <pc:docMk/>
            <pc:sldMk cId="2341912036" sldId="2553"/>
            <ac:spMk id="8" creationId="{A59D9EB3-E9B5-436C-B84C-64290C638E46}"/>
          </ac:spMkLst>
        </pc:spChg>
      </pc:sldChg>
      <pc:sldChg chg="modSp mod">
        <pc:chgData name="Aurelien Domont" userId="6da7715ce44349b3" providerId="LiveId" clId="{1F031B4F-7A08-47B6-9BBE-3BE595172CA2}" dt="2023-02-15T04:14:39.543" v="1000" actId="20577"/>
        <pc:sldMkLst>
          <pc:docMk/>
          <pc:sldMk cId="920435364" sldId="2580"/>
        </pc:sldMkLst>
        <pc:spChg chg="mod">
          <ac:chgData name="Aurelien Domont" userId="6da7715ce44349b3" providerId="LiveId" clId="{1F031B4F-7A08-47B6-9BBE-3BE595172CA2}" dt="2023-02-15T04:13:56.980" v="988" actId="14100"/>
          <ac:spMkLst>
            <pc:docMk/>
            <pc:sldMk cId="920435364" sldId="2580"/>
            <ac:spMk id="3" creationId="{42CF9ADC-1684-1CE2-D33C-D2FA8A616E5C}"/>
          </ac:spMkLst>
        </pc:spChg>
        <pc:spChg chg="mod">
          <ac:chgData name="Aurelien Domont" userId="6da7715ce44349b3" providerId="LiveId" clId="{1F031B4F-7A08-47B6-9BBE-3BE595172CA2}" dt="2023-02-15T04:14:39.543" v="1000" actId="20577"/>
          <ac:spMkLst>
            <pc:docMk/>
            <pc:sldMk cId="920435364" sldId="2580"/>
            <ac:spMk id="16" creationId="{6C2BB713-9637-4B9B-938F-E9768876782A}"/>
          </ac:spMkLst>
        </pc:spChg>
      </pc:sldChg>
      <pc:sldChg chg="modSp mod">
        <pc:chgData name="Aurelien Domont" userId="6da7715ce44349b3" providerId="LiveId" clId="{1F031B4F-7A08-47B6-9BBE-3BE595172CA2}" dt="2023-02-15T04:26:33.354" v="1004" actId="20577"/>
        <pc:sldMkLst>
          <pc:docMk/>
          <pc:sldMk cId="1870678215" sldId="2589"/>
        </pc:sldMkLst>
        <pc:spChg chg="mod">
          <ac:chgData name="Aurelien Domont" userId="6da7715ce44349b3" providerId="LiveId" clId="{1F031B4F-7A08-47B6-9BBE-3BE595172CA2}" dt="2023-02-15T04:26:33.354" v="1004" actId="20577"/>
          <ac:spMkLst>
            <pc:docMk/>
            <pc:sldMk cId="1870678215" sldId="2589"/>
            <ac:spMk id="16" creationId="{6C2BB713-9637-4B9B-938F-E9768876782A}"/>
          </ac:spMkLst>
        </pc:spChg>
      </pc:sldChg>
      <pc:sldChg chg="modSp mod">
        <pc:chgData name="Aurelien Domont" userId="6da7715ce44349b3" providerId="LiveId" clId="{1F031B4F-7A08-47B6-9BBE-3BE595172CA2}" dt="2023-02-15T04:26:53.281" v="1005" actId="20577"/>
        <pc:sldMkLst>
          <pc:docMk/>
          <pc:sldMk cId="3987364234" sldId="2590"/>
        </pc:sldMkLst>
        <pc:spChg chg="mod">
          <ac:chgData name="Aurelien Domont" userId="6da7715ce44349b3" providerId="LiveId" clId="{1F031B4F-7A08-47B6-9BBE-3BE595172CA2}" dt="2023-02-15T04:26:53.281" v="1005" actId="20577"/>
          <ac:spMkLst>
            <pc:docMk/>
            <pc:sldMk cId="3987364234" sldId="2590"/>
            <ac:spMk id="31" creationId="{54B27846-4CC2-CAB0-9435-56E1928738B0}"/>
          </ac:spMkLst>
        </pc:spChg>
      </pc:sldChg>
      <pc:sldChg chg="modSp mod">
        <pc:chgData name="Aurelien Domont" userId="6da7715ce44349b3" providerId="LiveId" clId="{1F031B4F-7A08-47B6-9BBE-3BE595172CA2}" dt="2023-02-15T05:38:43.079" v="1010" actId="179"/>
        <pc:sldMkLst>
          <pc:docMk/>
          <pc:sldMk cId="3404802973" sldId="2598"/>
        </pc:sldMkLst>
        <pc:spChg chg="mod">
          <ac:chgData name="Aurelien Domont" userId="6da7715ce44349b3" providerId="LiveId" clId="{1F031B4F-7A08-47B6-9BBE-3BE595172CA2}" dt="2023-02-15T05:38:43.079" v="1010" actId="179"/>
          <ac:spMkLst>
            <pc:docMk/>
            <pc:sldMk cId="3404802973" sldId="2598"/>
            <ac:spMk id="4" creationId="{471FDD12-2524-D2C4-61FC-BBD6D7EE5522}"/>
          </ac:spMkLst>
        </pc:spChg>
      </pc:sldChg>
      <pc:sldChg chg="del">
        <pc:chgData name="Aurelien Domont" userId="6da7715ce44349b3" providerId="LiveId" clId="{1F031B4F-7A08-47B6-9BBE-3BE595172CA2}" dt="2023-02-13T02:57:52.442" v="0" actId="47"/>
        <pc:sldMkLst>
          <pc:docMk/>
          <pc:sldMk cId="1032995605" sldId="2605"/>
        </pc:sldMkLst>
      </pc:sldChg>
      <pc:sldChg chg="modSp add del mod">
        <pc:chgData name="Aurelien Domont" userId="6da7715ce44349b3" providerId="LiveId" clId="{1F031B4F-7A08-47B6-9BBE-3BE595172CA2}" dt="2023-02-16T00:17:54.251" v="1766" actId="20577"/>
        <pc:sldMkLst>
          <pc:docMk/>
          <pc:sldMk cId="161867065" sldId="2640"/>
        </pc:sldMkLst>
        <pc:spChg chg="mod">
          <ac:chgData name="Aurelien Domont" userId="6da7715ce44349b3" providerId="LiveId" clId="{1F031B4F-7A08-47B6-9BBE-3BE595172CA2}" dt="2023-02-14T07:08:47.654" v="516" actId="313"/>
          <ac:spMkLst>
            <pc:docMk/>
            <pc:sldMk cId="161867065" sldId="2640"/>
            <ac:spMk id="14" creationId="{F55600FA-38A4-3E21-3758-6C7A50353FB1}"/>
          </ac:spMkLst>
        </pc:spChg>
        <pc:spChg chg="mod">
          <ac:chgData name="Aurelien Domont" userId="6da7715ce44349b3" providerId="LiveId" clId="{1F031B4F-7A08-47B6-9BBE-3BE595172CA2}" dt="2023-02-16T00:17:54.251" v="1766" actId="20577"/>
          <ac:spMkLst>
            <pc:docMk/>
            <pc:sldMk cId="161867065" sldId="2640"/>
            <ac:spMk id="16" creationId="{6C2BB713-9637-4B9B-938F-E9768876782A}"/>
          </ac:spMkLst>
        </pc:spChg>
      </pc:sldChg>
      <pc:sldChg chg="add del">
        <pc:chgData name="Aurelien Domont" userId="6da7715ce44349b3" providerId="LiveId" clId="{1F031B4F-7A08-47B6-9BBE-3BE595172CA2}" dt="2023-02-16T00:05:13.546" v="1595"/>
        <pc:sldMkLst>
          <pc:docMk/>
          <pc:sldMk cId="1189212000" sldId="2643"/>
        </pc:sldMkLst>
      </pc:sldChg>
      <pc:sldChg chg="del">
        <pc:chgData name="Aurelien Domont" userId="6da7715ce44349b3" providerId="LiveId" clId="{1F031B4F-7A08-47B6-9BBE-3BE595172CA2}" dt="2023-02-15T23:27:50.113" v="1105" actId="47"/>
        <pc:sldMkLst>
          <pc:docMk/>
          <pc:sldMk cId="1923001483" sldId="2644"/>
        </pc:sldMkLst>
      </pc:sldChg>
      <pc:sldChg chg="modSp del mod">
        <pc:chgData name="Aurelien Domont" userId="6da7715ce44349b3" providerId="LiveId" clId="{1F031B4F-7A08-47B6-9BBE-3BE595172CA2}" dt="2023-02-14T05:37:54.519" v="407" actId="2696"/>
        <pc:sldMkLst>
          <pc:docMk/>
          <pc:sldMk cId="598821393" sldId="2645"/>
        </pc:sldMkLst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3" creationId="{DDBE6CC1-3FC7-85EF-CAAF-167E54AE5F7F}"/>
          </ac:spMkLst>
        </pc:spChg>
        <pc:spChg chg="mod">
          <ac:chgData name="Aurelien Domont" userId="6da7715ce44349b3" providerId="LiveId" clId="{1F031B4F-7A08-47B6-9BBE-3BE595172CA2}" dt="2023-02-14T05:37:47.922" v="406" actId="20577"/>
          <ac:spMkLst>
            <pc:docMk/>
            <pc:sldMk cId="598821393" sldId="2645"/>
            <ac:spMk id="5" creationId="{0B4FBD31-0C8A-59D9-9B52-F453FB623368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6" creationId="{C5995262-1C5F-27CF-0CDC-199D60721C0E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10" creationId="{575037EC-2555-741A-8E47-E38C5EFF5519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11" creationId="{38DE2996-FD1A-5FBC-BEC0-8371C105641B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12" creationId="{133442C1-2268-4FDC-D086-0723AE21A7BF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14" creationId="{03E0294C-EFDC-99A9-7F33-EB5D59E444A6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15" creationId="{93A47C9B-5223-D8D8-39B4-03EEA66A126E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17" creationId="{AAD16F96-DE63-31F2-378D-8A132CDB160F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18" creationId="{9F60CC1E-33FA-41F1-7245-42F6D722D061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19" creationId="{8491B8D4-09CA-963F-3E92-A8030D036D80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20" creationId="{ADD9DF32-5180-5DBA-8B2B-11594D9AD0B4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21" creationId="{4492D81E-6A2A-EEE2-7B82-2200E19C33AA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39" creationId="{AA38D106-0E97-46A6-6CF4-2483D95032D3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40" creationId="{1D3C9572-A8F1-9B19-E5C4-41E1F8891561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41" creationId="{B3BDA427-A729-185B-467B-B7EFCDA82061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42" creationId="{40C22669-2AB6-7BDD-4A36-7F48346F5FA8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43" creationId="{84844A84-92D7-06E8-991F-B4439DE97641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45" creationId="{40A48555-0764-32F5-22BD-121704BE0E49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46" creationId="{9ECE7752-8B01-582D-E8DE-1DED658EED56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47" creationId="{0073A390-24EC-E7D5-BA6B-966D5116B538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48" creationId="{85BA89EB-D8D6-CEA3-FA86-5258CD99496B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49" creationId="{5EEAA94F-E9B3-7657-0596-E7CF5D5B2D61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50" creationId="{A0F42391-B5F6-3614-3513-FCBFE2FFF91E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51" creationId="{55950B6F-B567-B6E0-16AE-683CCF419E3F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52" creationId="{7184EDF1-BF42-1692-A367-C23829444750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53" creationId="{1032701F-2D4B-D361-CCE1-E47B82BCB020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54" creationId="{B7C6B978-9953-975D-C723-D492BD525C66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55" creationId="{D2A4AEC0-EBDE-D79E-5DD2-D91B665295CB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56" creationId="{722D8527-F604-4B33-85F5-9E3BC74223C2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59" creationId="{8CD1C9C1-3407-EA2D-9074-74CF68F5766B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60" creationId="{92D667F4-B3B8-73F6-563C-30A15320C78D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61" creationId="{A5C69E19-D014-E6C4-6F1B-2F3F1A901D90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62" creationId="{778DA56D-D458-9ADF-2290-69BD31E7E61E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63" creationId="{737A0794-C078-BD5B-AC9B-30D596C4BC32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65" creationId="{E0B36C60-0B76-55DF-83CC-7FFD2C8FBB9F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66" creationId="{DB873BA6-9FEC-8E6A-D0B0-96A9A5637853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67" creationId="{E31B22CE-F57D-05A5-3EA0-DA447D722A9F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68" creationId="{A23D9284-10B6-D49A-71D8-40B96940761B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69" creationId="{A5922019-C6D3-5620-EF25-8138C7909B00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98" creationId="{1C847190-AFF2-C8D6-2371-151608433C85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99" creationId="{38461761-BDAE-1C55-0E26-1D0A66A8BD0C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100" creationId="{AAA94F54-B3B7-D3F7-3268-3D1FE9FED9C4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101" creationId="{5AE418B2-D4A3-0B14-0A96-47F3008DAD93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103" creationId="{B541DE4E-D98E-0087-FBD6-18044894E25F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104" creationId="{FEED0A6B-09CE-26D8-A51C-596736233415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105" creationId="{90EE55FC-C188-FAF8-60C0-18CCBB099E8E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106" creationId="{8B94C909-3BE6-D90C-C6C4-53C52BAA14DB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107" creationId="{0286F6AC-BFFB-4B61-A0CA-4FA0EC663361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108" creationId="{5342B0B6-12CB-B60C-D007-D6029B366889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109" creationId="{7EF3B92C-9B96-EBB9-4D2E-9D3B712CB259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110" creationId="{FDF13E8A-B24B-432E-0BA0-FFB234AAD314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116" creationId="{94844D8D-7410-2D4F-1509-8EE01976A748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117" creationId="{CB95E550-4576-A763-22E8-523CF87DC65B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118" creationId="{16E90375-6E3B-167B-250D-EBBC97F3BF99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119" creationId="{D159D0C9-45C1-D2EB-DDC3-A9ADAAEBF033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120" creationId="{116A840E-FA09-DDF5-91A1-51F8C4E76223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121" creationId="{B4F32F0D-A15B-2847-8A77-A23098B3EE62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122" creationId="{3E95DE38-8293-AA3A-4461-EB6DB0F8800E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123" creationId="{E9A0E128-4E8A-38B1-A73B-6630500740DA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124" creationId="{44C75C17-9886-462D-80F0-CEDD00B78085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125" creationId="{AD2B9A86-EFE1-85E5-1AFD-E5B6B02B350F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126" creationId="{F6D89DCB-0DC6-388B-30BF-C531DE686D36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127" creationId="{37A55C34-1D1C-6AE8-C807-90B7F147CC1C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128" creationId="{71F181C4-A60F-054D-35CA-57A11EF2D2A7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129" creationId="{44B9F961-4BFA-42A8-2AA0-D87821962CA7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130" creationId="{EAED5566-A414-42AE-7CDD-ECE285C65C31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131" creationId="{18CEB39A-CD3E-DF86-256A-97B73F3C51F3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132" creationId="{ECFDB35C-2819-9149-5DA6-2C0CBE99C852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133" creationId="{7627AA51-0E17-B418-5027-87FB7D815042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134" creationId="{81A41BCD-021D-75D7-50BC-4BD0980A017F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135" creationId="{2940884D-9B38-E64A-360D-2786B387CB7B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139" creationId="{EF7E4E24-66E9-0D64-BB5C-42BE66D3788D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140" creationId="{C89527D6-326F-C603-61B4-9D23D5EFDF9C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141" creationId="{4A2C566C-4E4F-87D8-FF6C-FA65D9DC2203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142" creationId="{262D96DF-0095-E520-A8D9-C7922927D66A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143" creationId="{6CC7F4DD-BC8C-07B6-B024-851297C62E5B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144" creationId="{18D864BA-2545-42CF-6E87-23E1DC77EDFE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145" creationId="{4E33A49C-B402-2E92-0D41-E6F69E148F11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146" creationId="{7BD285A4-01A5-517E-9066-297A44060BE9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147" creationId="{DC603662-0D68-7A85-F417-2AB79E4DB3E5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148" creationId="{28B3E40B-865D-C77E-FCA0-56EE4C16F2AC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149" creationId="{D344F12A-EA8A-D13D-F754-5F2665FEEF3C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150" creationId="{B0075B2C-2C61-0B3D-CE54-2F2F25144BC6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152" creationId="{C7AFF0A3-26A3-A7C6-7A03-AADB0E64E366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153" creationId="{F168E4FC-3963-00BE-9CF9-34F8392947D8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154" creationId="{145FD90A-E7BD-B503-1B6B-BA89C31910F3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155" creationId="{8696F877-9292-DBAA-A9B7-08F2F0812C74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156" creationId="{9FC42F2B-CFDF-0259-34C2-FD25FF4CBB50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157" creationId="{E45208E6-D0B5-D8AD-80F8-04E8F5329F85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158" creationId="{37D23748-4C1C-222E-194A-B524855600DB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159" creationId="{B8147E48-7FDA-B20C-0E4D-C591B6BADE9B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160" creationId="{3444FABE-DBD9-9CDB-0F6B-F8376DFA1681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161" creationId="{72046EB3-053E-F14C-7C01-E5C38CBCAC8D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162" creationId="{256C0A49-64E1-A731-5459-EFB1C5797273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163" creationId="{C60ACE80-78AE-6657-30B8-31BF0B30533D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164" creationId="{437205F3-BEFC-88E0-7AAD-2C8CE82F94C4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165" creationId="{4B2C1AAC-20F1-BB16-F8B4-B738850C66B1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166" creationId="{E031911F-9758-5B55-90C2-44701591C1FC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167" creationId="{B10A6B55-6E43-ABC4-4E6F-E0C8062F47EB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168" creationId="{C8119918-426C-D2D2-9F65-4C26DA244AEA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169" creationId="{D47AB618-0C7D-7C04-61D2-9C27D677C21D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170" creationId="{B4B60528-BC5F-24E9-ECF8-D749127FD7B6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171" creationId="{B1599690-4A65-35C8-072A-B4E908BE6AC0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172" creationId="{44E03D59-5C86-58BC-E41F-E215378AF7A8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173" creationId="{8E4B6E36-CA5B-8BEB-5A17-6BC2E5338DB8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174" creationId="{D77157AD-EBFE-221F-CE3D-AA4D65504FA4}"/>
          </ac:spMkLst>
        </pc:spChg>
        <pc:spChg chg="mod">
          <ac:chgData name="Aurelien Domont" userId="6da7715ce44349b3" providerId="LiveId" clId="{1F031B4F-7A08-47B6-9BBE-3BE595172CA2}" dt="2023-02-14T05:36:15.289" v="390" actId="1038"/>
          <ac:spMkLst>
            <pc:docMk/>
            <pc:sldMk cId="598821393" sldId="2645"/>
            <ac:spMk id="175" creationId="{CA39F185-0885-647E-8B77-567B9FEBB69E}"/>
          </ac:spMkLst>
        </pc:spChg>
        <pc:grpChg chg="mod">
          <ac:chgData name="Aurelien Domont" userId="6da7715ce44349b3" providerId="LiveId" clId="{1F031B4F-7A08-47B6-9BBE-3BE595172CA2}" dt="2023-02-14T05:36:15.289" v="390" actId="1038"/>
          <ac:grpSpMkLst>
            <pc:docMk/>
            <pc:sldMk cId="598821393" sldId="2645"/>
            <ac:grpSpMk id="7" creationId="{AD749A54-973D-23CF-0791-207B096710A6}"/>
          </ac:grpSpMkLst>
        </pc:grpChg>
        <pc:grpChg chg="mod">
          <ac:chgData name="Aurelien Domont" userId="6da7715ce44349b3" providerId="LiveId" clId="{1F031B4F-7A08-47B6-9BBE-3BE595172CA2}" dt="2023-02-14T05:36:15.289" v="390" actId="1038"/>
          <ac:grpSpMkLst>
            <pc:docMk/>
            <pc:sldMk cId="598821393" sldId="2645"/>
            <ac:grpSpMk id="38" creationId="{42FAB24F-1897-E688-619A-2B5ED64C6EFB}"/>
          </ac:grpSpMkLst>
        </pc:grpChg>
        <pc:grpChg chg="mod">
          <ac:chgData name="Aurelien Domont" userId="6da7715ce44349b3" providerId="LiveId" clId="{1F031B4F-7A08-47B6-9BBE-3BE595172CA2}" dt="2023-02-14T05:36:15.289" v="390" actId="1038"/>
          <ac:grpSpMkLst>
            <pc:docMk/>
            <pc:sldMk cId="598821393" sldId="2645"/>
            <ac:grpSpMk id="44" creationId="{423E3D93-B93F-F8B5-E9F9-428F2641F87A}"/>
          </ac:grpSpMkLst>
        </pc:grpChg>
        <pc:grpChg chg="mod">
          <ac:chgData name="Aurelien Domont" userId="6da7715ce44349b3" providerId="LiveId" clId="{1F031B4F-7A08-47B6-9BBE-3BE595172CA2}" dt="2023-02-14T05:36:15.289" v="390" actId="1038"/>
          <ac:grpSpMkLst>
            <pc:docMk/>
            <pc:sldMk cId="598821393" sldId="2645"/>
            <ac:grpSpMk id="57" creationId="{A5C03B9B-37A2-2E6E-71D3-AC890A4A2BA4}"/>
          </ac:grpSpMkLst>
        </pc:grpChg>
        <pc:grpChg chg="mod">
          <ac:chgData name="Aurelien Domont" userId="6da7715ce44349b3" providerId="LiveId" clId="{1F031B4F-7A08-47B6-9BBE-3BE595172CA2}" dt="2023-02-14T05:36:15.289" v="390" actId="1038"/>
          <ac:grpSpMkLst>
            <pc:docMk/>
            <pc:sldMk cId="598821393" sldId="2645"/>
            <ac:grpSpMk id="58" creationId="{614D263C-C7F1-AC94-5EAF-1A8AD626B390}"/>
          </ac:grpSpMkLst>
        </pc:grpChg>
        <pc:grpChg chg="mod">
          <ac:chgData name="Aurelien Domont" userId="6da7715ce44349b3" providerId="LiveId" clId="{1F031B4F-7A08-47B6-9BBE-3BE595172CA2}" dt="2023-02-14T05:36:15.289" v="390" actId="1038"/>
          <ac:grpSpMkLst>
            <pc:docMk/>
            <pc:sldMk cId="598821393" sldId="2645"/>
            <ac:grpSpMk id="64" creationId="{91121257-E494-89D6-9EEF-2AF46BAD9B63}"/>
          </ac:grpSpMkLst>
        </pc:grpChg>
        <pc:grpChg chg="mod">
          <ac:chgData name="Aurelien Domont" userId="6da7715ce44349b3" providerId="LiveId" clId="{1F031B4F-7A08-47B6-9BBE-3BE595172CA2}" dt="2023-02-14T05:36:15.289" v="390" actId="1038"/>
          <ac:grpSpMkLst>
            <pc:docMk/>
            <pc:sldMk cId="598821393" sldId="2645"/>
            <ac:grpSpMk id="97" creationId="{8B12A288-9195-B8FF-4A90-042E359560F1}"/>
          </ac:grpSpMkLst>
        </pc:grpChg>
        <pc:grpChg chg="mod">
          <ac:chgData name="Aurelien Domont" userId="6da7715ce44349b3" providerId="LiveId" clId="{1F031B4F-7A08-47B6-9BBE-3BE595172CA2}" dt="2023-02-14T05:36:15.289" v="390" actId="1038"/>
          <ac:grpSpMkLst>
            <pc:docMk/>
            <pc:sldMk cId="598821393" sldId="2645"/>
            <ac:grpSpMk id="102" creationId="{C717B3DA-A182-4DA3-2C16-D2E91B00E0FB}"/>
          </ac:grpSpMkLst>
        </pc:grpChg>
        <pc:grpChg chg="mod">
          <ac:chgData name="Aurelien Domont" userId="6da7715ce44349b3" providerId="LiveId" clId="{1F031B4F-7A08-47B6-9BBE-3BE595172CA2}" dt="2023-02-14T05:36:15.289" v="390" actId="1038"/>
          <ac:grpSpMkLst>
            <pc:docMk/>
            <pc:sldMk cId="598821393" sldId="2645"/>
            <ac:grpSpMk id="115" creationId="{9AADE41B-B203-8E26-96EC-157FE059ED5E}"/>
          </ac:grpSpMkLst>
        </pc:grpChg>
        <pc:grpChg chg="mod">
          <ac:chgData name="Aurelien Domont" userId="6da7715ce44349b3" providerId="LiveId" clId="{1F031B4F-7A08-47B6-9BBE-3BE595172CA2}" dt="2023-02-14T05:36:15.289" v="390" actId="1038"/>
          <ac:grpSpMkLst>
            <pc:docMk/>
            <pc:sldMk cId="598821393" sldId="2645"/>
            <ac:grpSpMk id="138" creationId="{85588942-D5B0-84D2-9484-5DD429D3BF87}"/>
          </ac:grpSpMkLst>
        </pc:grpChg>
        <pc:grpChg chg="mod">
          <ac:chgData name="Aurelien Domont" userId="6da7715ce44349b3" providerId="LiveId" clId="{1F031B4F-7A08-47B6-9BBE-3BE595172CA2}" dt="2023-02-14T05:36:15.289" v="390" actId="1038"/>
          <ac:grpSpMkLst>
            <pc:docMk/>
            <pc:sldMk cId="598821393" sldId="2645"/>
            <ac:grpSpMk id="151" creationId="{22AE4F39-50A0-FA50-1BDA-CF5C69BA451A}"/>
          </ac:grpSpMkLst>
        </pc:grpChg>
        <pc:picChg chg="mod">
          <ac:chgData name="Aurelien Domont" userId="6da7715ce44349b3" providerId="LiveId" clId="{1F031B4F-7A08-47B6-9BBE-3BE595172CA2}" dt="2023-02-14T05:36:15.289" v="390" actId="1038"/>
          <ac:picMkLst>
            <pc:docMk/>
            <pc:sldMk cId="598821393" sldId="2645"/>
            <ac:picMk id="112" creationId="{4A910353-37C2-275D-1A89-2270AADE2A2E}"/>
          </ac:picMkLst>
        </pc:picChg>
        <pc:picChg chg="mod">
          <ac:chgData name="Aurelien Domont" userId="6da7715ce44349b3" providerId="LiveId" clId="{1F031B4F-7A08-47B6-9BBE-3BE595172CA2}" dt="2023-02-14T05:36:15.289" v="390" actId="1038"/>
          <ac:picMkLst>
            <pc:docMk/>
            <pc:sldMk cId="598821393" sldId="2645"/>
            <ac:picMk id="114" creationId="{0715EFEE-4F8C-0040-7697-0338E551AF70}"/>
          </ac:picMkLst>
        </pc:picChg>
        <pc:picChg chg="mod">
          <ac:chgData name="Aurelien Domont" userId="6da7715ce44349b3" providerId="LiveId" clId="{1F031B4F-7A08-47B6-9BBE-3BE595172CA2}" dt="2023-02-14T05:36:15.289" v="390" actId="1038"/>
          <ac:picMkLst>
            <pc:docMk/>
            <pc:sldMk cId="598821393" sldId="2645"/>
            <ac:picMk id="177" creationId="{69E97C75-FE4E-CCFC-0097-586A7AE66D74}"/>
          </ac:picMkLst>
        </pc:picChg>
      </pc:sldChg>
      <pc:sldChg chg="addSp modSp add del setBg">
        <pc:chgData name="Aurelien Domont" userId="6da7715ce44349b3" providerId="LiveId" clId="{1F031B4F-7A08-47B6-9BBE-3BE595172CA2}" dt="2023-02-15T23:58:43.902" v="1534"/>
        <pc:sldMkLst>
          <pc:docMk/>
          <pc:sldMk cId="3674217527" sldId="2645"/>
        </pc:sldMkLst>
        <pc:spChg chg="add mod">
          <ac:chgData name="Aurelien Domont" userId="6da7715ce44349b3" providerId="LiveId" clId="{1F031B4F-7A08-47B6-9BBE-3BE595172CA2}" dt="2023-02-15T23:58:43.902" v="1534"/>
          <ac:spMkLst>
            <pc:docMk/>
            <pc:sldMk cId="3674217527" sldId="2645"/>
            <ac:spMk id="2" creationId="{211F397E-A500-07A0-CB4B-5A267A501579}"/>
          </ac:spMkLst>
        </pc:spChg>
      </pc:sldChg>
      <pc:sldChg chg="addSp modSp">
        <pc:chgData name="Aurelien Domont" userId="6da7715ce44349b3" providerId="LiveId" clId="{1F031B4F-7A08-47B6-9BBE-3BE595172CA2}" dt="2023-02-14T06:08:09.171" v="430"/>
        <pc:sldMkLst>
          <pc:docMk/>
          <pc:sldMk cId="2088006258" sldId="2646"/>
        </pc:sldMkLst>
        <pc:spChg chg="add mod">
          <ac:chgData name="Aurelien Domont" userId="6da7715ce44349b3" providerId="LiveId" clId="{1F031B4F-7A08-47B6-9BBE-3BE595172CA2}" dt="2023-02-14T06:08:09.171" v="430"/>
          <ac:spMkLst>
            <pc:docMk/>
            <pc:sldMk cId="2088006258" sldId="2646"/>
            <ac:spMk id="2" creationId="{535FC1D7-D699-EB5C-EFBD-C0F8EAAD2F27}"/>
          </ac:spMkLst>
        </pc:spChg>
      </pc:sldChg>
      <pc:sldChg chg="addSp delSp modSp mod">
        <pc:chgData name="Aurelien Domont" userId="6da7715ce44349b3" providerId="LiveId" clId="{1F031B4F-7A08-47B6-9BBE-3BE595172CA2}" dt="2023-02-14T06:08:30.904" v="434"/>
        <pc:sldMkLst>
          <pc:docMk/>
          <pc:sldMk cId="297724604" sldId="2647"/>
        </pc:sldMkLst>
        <pc:spChg chg="del">
          <ac:chgData name="Aurelien Domont" userId="6da7715ce44349b3" providerId="LiveId" clId="{1F031B4F-7A08-47B6-9BBE-3BE595172CA2}" dt="2023-02-14T06:08:30.235" v="433" actId="478"/>
          <ac:spMkLst>
            <pc:docMk/>
            <pc:sldMk cId="297724604" sldId="2647"/>
            <ac:spMk id="3" creationId="{CE2529A3-BA97-486F-9E02-8DFAAA7D8D38}"/>
          </ac:spMkLst>
        </pc:spChg>
        <pc:spChg chg="add mod">
          <ac:chgData name="Aurelien Domont" userId="6da7715ce44349b3" providerId="LiveId" clId="{1F031B4F-7A08-47B6-9BBE-3BE595172CA2}" dt="2023-02-14T06:08:30.904" v="434"/>
          <ac:spMkLst>
            <pc:docMk/>
            <pc:sldMk cId="297724604" sldId="2647"/>
            <ac:spMk id="16" creationId="{BD0FE656-D9F9-5998-41BE-8625E8F2A6B2}"/>
          </ac:spMkLst>
        </pc:spChg>
      </pc:sldChg>
      <pc:sldChg chg="modSp mod">
        <pc:chgData name="Aurelien Domont" userId="6da7715ce44349b3" providerId="LiveId" clId="{1F031B4F-7A08-47B6-9BBE-3BE595172CA2}" dt="2023-02-14T05:48:17.374" v="423" actId="1037"/>
        <pc:sldMkLst>
          <pc:docMk/>
          <pc:sldMk cId="893063664" sldId="2648"/>
        </pc:sldMkLst>
        <pc:grpChg chg="mod">
          <ac:chgData name="Aurelien Domont" userId="6da7715ce44349b3" providerId="LiveId" clId="{1F031B4F-7A08-47B6-9BBE-3BE595172CA2}" dt="2023-02-14T05:48:11.792" v="421" actId="1037"/>
          <ac:grpSpMkLst>
            <pc:docMk/>
            <pc:sldMk cId="893063664" sldId="2648"/>
            <ac:grpSpMk id="9" creationId="{BC1D4DA2-5F52-BEF3-99DB-B3E38EDA621A}"/>
          </ac:grpSpMkLst>
        </pc:grpChg>
        <pc:grpChg chg="mod">
          <ac:chgData name="Aurelien Domont" userId="6da7715ce44349b3" providerId="LiveId" clId="{1F031B4F-7A08-47B6-9BBE-3BE595172CA2}" dt="2023-02-14T05:48:11.792" v="421" actId="1037"/>
          <ac:grpSpMkLst>
            <pc:docMk/>
            <pc:sldMk cId="893063664" sldId="2648"/>
            <ac:grpSpMk id="10" creationId="{B8322D2D-101D-5505-5164-EDA4C97F536E}"/>
          </ac:grpSpMkLst>
        </pc:grpChg>
        <pc:grpChg chg="mod">
          <ac:chgData name="Aurelien Domont" userId="6da7715ce44349b3" providerId="LiveId" clId="{1F031B4F-7A08-47B6-9BBE-3BE595172CA2}" dt="2023-02-14T05:48:17.374" v="423" actId="1037"/>
          <ac:grpSpMkLst>
            <pc:docMk/>
            <pc:sldMk cId="893063664" sldId="2648"/>
            <ac:grpSpMk id="12" creationId="{B1B53B26-179C-CAC4-4E00-E6B6B2A36A77}"/>
          </ac:grpSpMkLst>
        </pc:grpChg>
        <pc:grpChg chg="mod">
          <ac:chgData name="Aurelien Domont" userId="6da7715ce44349b3" providerId="LiveId" clId="{1F031B4F-7A08-47B6-9BBE-3BE595172CA2}" dt="2023-02-14T05:48:17.374" v="423" actId="1037"/>
          <ac:grpSpMkLst>
            <pc:docMk/>
            <pc:sldMk cId="893063664" sldId="2648"/>
            <ac:grpSpMk id="17" creationId="{90706AB3-8E5C-C2DF-F21E-D7F37EDA9804}"/>
          </ac:grpSpMkLst>
        </pc:grpChg>
        <pc:grpChg chg="mod">
          <ac:chgData name="Aurelien Domont" userId="6da7715ce44349b3" providerId="LiveId" clId="{1F031B4F-7A08-47B6-9BBE-3BE595172CA2}" dt="2023-02-14T05:48:17.374" v="423" actId="1037"/>
          <ac:grpSpMkLst>
            <pc:docMk/>
            <pc:sldMk cId="893063664" sldId="2648"/>
            <ac:grpSpMk id="21" creationId="{0119CB0B-36EB-86F6-D7A3-07438D4DC3B8}"/>
          </ac:grpSpMkLst>
        </pc:grpChg>
        <pc:grpChg chg="mod">
          <ac:chgData name="Aurelien Domont" userId="6da7715ce44349b3" providerId="LiveId" clId="{1F031B4F-7A08-47B6-9BBE-3BE595172CA2}" dt="2023-02-14T05:48:11.792" v="421" actId="1037"/>
          <ac:grpSpMkLst>
            <pc:docMk/>
            <pc:sldMk cId="893063664" sldId="2648"/>
            <ac:grpSpMk id="22" creationId="{1D1B3BAD-C30A-CA7D-3F45-7BF8E63F1641}"/>
          </ac:grpSpMkLst>
        </pc:grpChg>
      </pc:sldChg>
      <pc:sldChg chg="addSp delSp modSp mod">
        <pc:chgData name="Aurelien Domont" userId="6da7715ce44349b3" providerId="LiveId" clId="{1F031B4F-7A08-47B6-9BBE-3BE595172CA2}" dt="2023-02-14T06:08:40.710" v="436"/>
        <pc:sldMkLst>
          <pc:docMk/>
          <pc:sldMk cId="1304110916" sldId="2652"/>
        </pc:sldMkLst>
        <pc:spChg chg="del">
          <ac:chgData name="Aurelien Domont" userId="6da7715ce44349b3" providerId="LiveId" clId="{1F031B4F-7A08-47B6-9BBE-3BE595172CA2}" dt="2023-02-14T06:08:39.729" v="435" actId="478"/>
          <ac:spMkLst>
            <pc:docMk/>
            <pc:sldMk cId="1304110916" sldId="2652"/>
            <ac:spMk id="3" creationId="{CE2529A3-BA97-486F-9E02-8DFAAA7D8D38}"/>
          </ac:spMkLst>
        </pc:spChg>
        <pc:spChg chg="mod">
          <ac:chgData name="Aurelien Domont" userId="6da7715ce44349b3" providerId="LiveId" clId="{1F031B4F-7A08-47B6-9BBE-3BE595172CA2}" dt="2023-02-14T06:06:29.797" v="426"/>
          <ac:spMkLst>
            <pc:docMk/>
            <pc:sldMk cId="1304110916" sldId="2652"/>
            <ac:spMk id="4" creationId="{62B59BD2-7739-0D4C-EF00-ADC9996BB857}"/>
          </ac:spMkLst>
        </pc:spChg>
        <pc:spChg chg="mod">
          <ac:chgData name="Aurelien Domont" userId="6da7715ce44349b3" providerId="LiveId" clId="{1F031B4F-7A08-47B6-9BBE-3BE595172CA2}" dt="2023-02-14T06:06:37.578" v="427"/>
          <ac:spMkLst>
            <pc:docMk/>
            <pc:sldMk cId="1304110916" sldId="2652"/>
            <ac:spMk id="5" creationId="{045302F6-2FAF-9F91-DAD1-FECF26D9E92B}"/>
          </ac:spMkLst>
        </pc:spChg>
        <pc:spChg chg="mod">
          <ac:chgData name="Aurelien Domont" userId="6da7715ce44349b3" providerId="LiveId" clId="{1F031B4F-7A08-47B6-9BBE-3BE595172CA2}" dt="2023-02-14T06:06:41.874" v="428"/>
          <ac:spMkLst>
            <pc:docMk/>
            <pc:sldMk cId="1304110916" sldId="2652"/>
            <ac:spMk id="6" creationId="{BDF5D36B-3545-3ECA-87F3-4F1FC65B6A69}"/>
          </ac:spMkLst>
        </pc:spChg>
        <pc:spChg chg="add mod">
          <ac:chgData name="Aurelien Domont" userId="6da7715ce44349b3" providerId="LiveId" clId="{1F031B4F-7A08-47B6-9BBE-3BE595172CA2}" dt="2023-02-14T06:08:40.710" v="436"/>
          <ac:spMkLst>
            <pc:docMk/>
            <pc:sldMk cId="1304110916" sldId="2652"/>
            <ac:spMk id="9" creationId="{51BD09D1-9561-AD66-15BC-3931A6CF944D}"/>
          </ac:spMkLst>
        </pc:spChg>
        <pc:spChg chg="mod">
          <ac:chgData name="Aurelien Domont" userId="6da7715ce44349b3" providerId="LiveId" clId="{1F031B4F-7A08-47B6-9BBE-3BE595172CA2}" dt="2023-02-14T06:06:45.322" v="429"/>
          <ac:spMkLst>
            <pc:docMk/>
            <pc:sldMk cId="1304110916" sldId="2652"/>
            <ac:spMk id="12" creationId="{3D13B60A-4A06-3B83-CCFB-5AFC21F2BB9D}"/>
          </ac:spMkLst>
        </pc:spChg>
      </pc:sldChg>
      <pc:sldChg chg="addSp delSp modSp mod">
        <pc:chgData name="Aurelien Domont" userId="6da7715ce44349b3" providerId="LiveId" clId="{1F031B4F-7A08-47B6-9BBE-3BE595172CA2}" dt="2023-02-14T06:08:21.478" v="432"/>
        <pc:sldMkLst>
          <pc:docMk/>
          <pc:sldMk cId="2574950337" sldId="2653"/>
        </pc:sldMkLst>
        <pc:spChg chg="del">
          <ac:chgData name="Aurelien Domont" userId="6da7715ce44349b3" providerId="LiveId" clId="{1F031B4F-7A08-47B6-9BBE-3BE595172CA2}" dt="2023-02-14T06:08:20.245" v="431" actId="478"/>
          <ac:spMkLst>
            <pc:docMk/>
            <pc:sldMk cId="2574950337" sldId="2653"/>
            <ac:spMk id="3" creationId="{CE2529A3-BA97-486F-9E02-8DFAAA7D8D38}"/>
          </ac:spMkLst>
        </pc:spChg>
        <pc:spChg chg="mod">
          <ac:chgData name="Aurelien Domont" userId="6da7715ce44349b3" providerId="LiveId" clId="{1F031B4F-7A08-47B6-9BBE-3BE595172CA2}" dt="2023-02-14T05:59:43.846" v="425" actId="20577"/>
          <ac:spMkLst>
            <pc:docMk/>
            <pc:sldMk cId="2574950337" sldId="2653"/>
            <ac:spMk id="6" creationId="{682A91C2-9083-1739-5003-C221D4CA607C}"/>
          </ac:spMkLst>
        </pc:spChg>
        <pc:spChg chg="add mod">
          <ac:chgData name="Aurelien Domont" userId="6da7715ce44349b3" providerId="LiveId" clId="{1F031B4F-7A08-47B6-9BBE-3BE595172CA2}" dt="2023-02-14T06:08:21.478" v="432"/>
          <ac:spMkLst>
            <pc:docMk/>
            <pc:sldMk cId="2574950337" sldId="2653"/>
            <ac:spMk id="9" creationId="{2D0775A0-FDFA-7B27-0F84-7E7D3C940228}"/>
          </ac:spMkLst>
        </pc:spChg>
      </pc:sldChg>
      <pc:sldChg chg="del">
        <pc:chgData name="Aurelien Domont" userId="6da7715ce44349b3" providerId="LiveId" clId="{1F031B4F-7A08-47B6-9BBE-3BE595172CA2}" dt="2023-02-14T05:19:54.644" v="330" actId="47"/>
        <pc:sldMkLst>
          <pc:docMk/>
          <pc:sldMk cId="2328843694" sldId="2654"/>
        </pc:sldMkLst>
      </pc:sldChg>
      <pc:sldChg chg="del">
        <pc:chgData name="Aurelien Domont" userId="6da7715ce44349b3" providerId="LiveId" clId="{1F031B4F-7A08-47B6-9BBE-3BE595172CA2}" dt="2023-02-15T23:28:19.826" v="1109" actId="47"/>
        <pc:sldMkLst>
          <pc:docMk/>
          <pc:sldMk cId="3524517363" sldId="2655"/>
        </pc:sldMkLst>
      </pc:sldChg>
      <pc:sldChg chg="modSp mod">
        <pc:chgData name="Aurelien Domont" userId="6da7715ce44349b3" providerId="LiveId" clId="{1F031B4F-7A08-47B6-9BBE-3BE595172CA2}" dt="2023-02-15T23:43:47.735" v="1376" actId="6549"/>
        <pc:sldMkLst>
          <pc:docMk/>
          <pc:sldMk cId="1153674" sldId="2656"/>
        </pc:sldMkLst>
        <pc:spChg chg="mod">
          <ac:chgData name="Aurelien Domont" userId="6da7715ce44349b3" providerId="LiveId" clId="{1F031B4F-7A08-47B6-9BBE-3BE595172CA2}" dt="2023-02-15T23:43:47.735" v="1376" actId="6549"/>
          <ac:spMkLst>
            <pc:docMk/>
            <pc:sldMk cId="1153674" sldId="2656"/>
            <ac:spMk id="6" creationId="{925DDD0A-01CE-7FB4-14EA-5618B9C4E995}"/>
          </ac:spMkLst>
        </pc:spChg>
        <pc:spChg chg="mod">
          <ac:chgData name="Aurelien Domont" userId="6da7715ce44349b3" providerId="LiveId" clId="{1F031B4F-7A08-47B6-9BBE-3BE595172CA2}" dt="2023-02-15T23:39:21.206" v="1271" actId="20577"/>
          <ac:spMkLst>
            <pc:docMk/>
            <pc:sldMk cId="1153674" sldId="2656"/>
            <ac:spMk id="16" creationId="{6C2BB713-9637-4B9B-938F-E9768876782A}"/>
          </ac:spMkLst>
        </pc:spChg>
      </pc:sldChg>
      <pc:sldChg chg="modSp del mod">
        <pc:chgData name="Aurelien Domont" userId="6da7715ce44349b3" providerId="LiveId" clId="{1F031B4F-7A08-47B6-9BBE-3BE595172CA2}" dt="2023-02-15T23:39:17.005" v="1265" actId="47"/>
        <pc:sldMkLst>
          <pc:docMk/>
          <pc:sldMk cId="2273751800" sldId="2657"/>
        </pc:sldMkLst>
        <pc:spChg chg="mod">
          <ac:chgData name="Aurelien Domont" userId="6da7715ce44349b3" providerId="LiveId" clId="{1F031B4F-7A08-47B6-9BBE-3BE595172CA2}" dt="2023-02-14T05:29:32.327" v="356" actId="20577"/>
          <ac:spMkLst>
            <pc:docMk/>
            <pc:sldMk cId="2273751800" sldId="2657"/>
            <ac:spMk id="6" creationId="{925DDD0A-01CE-7FB4-14EA-5618B9C4E995}"/>
          </ac:spMkLst>
        </pc:spChg>
      </pc:sldChg>
      <pc:sldChg chg="del">
        <pc:chgData name="Aurelien Domont" userId="6da7715ce44349b3" providerId="LiveId" clId="{1F031B4F-7A08-47B6-9BBE-3BE595172CA2}" dt="2023-02-15T23:31:59.894" v="1137" actId="47"/>
        <pc:sldMkLst>
          <pc:docMk/>
          <pc:sldMk cId="3336655573" sldId="2658"/>
        </pc:sldMkLst>
      </pc:sldChg>
      <pc:sldChg chg="del">
        <pc:chgData name="Aurelien Domont" userId="6da7715ce44349b3" providerId="LiveId" clId="{1F031B4F-7A08-47B6-9BBE-3BE595172CA2}" dt="2023-02-15T23:45:19.892" v="1387" actId="47"/>
        <pc:sldMkLst>
          <pc:docMk/>
          <pc:sldMk cId="934148026" sldId="2659"/>
        </pc:sldMkLst>
      </pc:sldChg>
      <pc:sldChg chg="del">
        <pc:chgData name="Aurelien Domont" userId="6da7715ce44349b3" providerId="LiveId" clId="{1F031B4F-7A08-47B6-9BBE-3BE595172CA2}" dt="2023-02-15T23:32:22.042" v="1140" actId="47"/>
        <pc:sldMkLst>
          <pc:docMk/>
          <pc:sldMk cId="3500597963" sldId="2661"/>
        </pc:sldMkLst>
      </pc:sldChg>
      <pc:sldChg chg="del">
        <pc:chgData name="Aurelien Domont" userId="6da7715ce44349b3" providerId="LiveId" clId="{1F031B4F-7A08-47B6-9BBE-3BE595172CA2}" dt="2023-02-15T23:32:27.028" v="1142" actId="47"/>
        <pc:sldMkLst>
          <pc:docMk/>
          <pc:sldMk cId="2767712173" sldId="2662"/>
        </pc:sldMkLst>
      </pc:sldChg>
      <pc:sldChg chg="del">
        <pc:chgData name="Aurelien Domont" userId="6da7715ce44349b3" providerId="LiveId" clId="{1F031B4F-7A08-47B6-9BBE-3BE595172CA2}" dt="2023-02-15T23:32:32.269" v="1144" actId="47"/>
        <pc:sldMkLst>
          <pc:docMk/>
          <pc:sldMk cId="149861445" sldId="2663"/>
        </pc:sldMkLst>
      </pc:sldChg>
      <pc:sldChg chg="del">
        <pc:chgData name="Aurelien Domont" userId="6da7715ce44349b3" providerId="LiveId" clId="{1F031B4F-7A08-47B6-9BBE-3BE595172CA2}" dt="2023-02-15T23:32:36.023" v="1146" actId="47"/>
        <pc:sldMkLst>
          <pc:docMk/>
          <pc:sldMk cId="1638950283" sldId="2664"/>
        </pc:sldMkLst>
      </pc:sldChg>
      <pc:sldChg chg="del">
        <pc:chgData name="Aurelien Domont" userId="6da7715ce44349b3" providerId="LiveId" clId="{1F031B4F-7A08-47B6-9BBE-3BE595172CA2}" dt="2023-02-15T23:32:40.470" v="1148" actId="47"/>
        <pc:sldMkLst>
          <pc:docMk/>
          <pc:sldMk cId="1584131872" sldId="2665"/>
        </pc:sldMkLst>
      </pc:sldChg>
      <pc:sldChg chg="del">
        <pc:chgData name="Aurelien Domont" userId="6da7715ce44349b3" providerId="LiveId" clId="{1F031B4F-7A08-47B6-9BBE-3BE595172CA2}" dt="2023-02-15T23:32:44.571" v="1150" actId="47"/>
        <pc:sldMkLst>
          <pc:docMk/>
          <pc:sldMk cId="4198705293" sldId="2666"/>
        </pc:sldMkLst>
      </pc:sldChg>
      <pc:sldChg chg="del">
        <pc:chgData name="Aurelien Domont" userId="6da7715ce44349b3" providerId="LiveId" clId="{1F031B4F-7A08-47B6-9BBE-3BE595172CA2}" dt="2023-02-15T23:32:48.370" v="1152" actId="47"/>
        <pc:sldMkLst>
          <pc:docMk/>
          <pc:sldMk cId="4285009322" sldId="2667"/>
        </pc:sldMkLst>
      </pc:sldChg>
      <pc:sldChg chg="del">
        <pc:chgData name="Aurelien Domont" userId="6da7715ce44349b3" providerId="LiveId" clId="{1F031B4F-7A08-47B6-9BBE-3BE595172CA2}" dt="2023-02-15T23:32:52.467" v="1154" actId="47"/>
        <pc:sldMkLst>
          <pc:docMk/>
          <pc:sldMk cId="2212308199" sldId="2668"/>
        </pc:sldMkLst>
      </pc:sldChg>
      <pc:sldChg chg="del">
        <pc:chgData name="Aurelien Domont" userId="6da7715ce44349b3" providerId="LiveId" clId="{1F031B4F-7A08-47B6-9BBE-3BE595172CA2}" dt="2023-02-15T23:32:56.873" v="1156" actId="47"/>
        <pc:sldMkLst>
          <pc:docMk/>
          <pc:sldMk cId="1254340822" sldId="2669"/>
        </pc:sldMkLst>
      </pc:sldChg>
      <pc:sldChg chg="del">
        <pc:chgData name="Aurelien Domont" userId="6da7715ce44349b3" providerId="LiveId" clId="{1F031B4F-7A08-47B6-9BBE-3BE595172CA2}" dt="2023-02-15T23:33:00.434" v="1158" actId="47"/>
        <pc:sldMkLst>
          <pc:docMk/>
          <pc:sldMk cId="408465059" sldId="2670"/>
        </pc:sldMkLst>
      </pc:sldChg>
      <pc:sldChg chg="del">
        <pc:chgData name="Aurelien Domont" userId="6da7715ce44349b3" providerId="LiveId" clId="{1F031B4F-7A08-47B6-9BBE-3BE595172CA2}" dt="2023-02-15T23:33:03.486" v="1160" actId="47"/>
        <pc:sldMkLst>
          <pc:docMk/>
          <pc:sldMk cId="2324647012" sldId="2671"/>
        </pc:sldMkLst>
      </pc:sldChg>
      <pc:sldChg chg="del">
        <pc:chgData name="Aurelien Domont" userId="6da7715ce44349b3" providerId="LiveId" clId="{1F031B4F-7A08-47B6-9BBE-3BE595172CA2}" dt="2023-02-15T23:47:51.278" v="1415" actId="47"/>
        <pc:sldMkLst>
          <pc:docMk/>
          <pc:sldMk cId="3357886380" sldId="2672"/>
        </pc:sldMkLst>
      </pc:sldChg>
      <pc:sldChg chg="del">
        <pc:chgData name="Aurelien Domont" userId="6da7715ce44349b3" providerId="LiveId" clId="{1F031B4F-7A08-47B6-9BBE-3BE595172CA2}" dt="2023-02-15T23:33:08.268" v="1162" actId="47"/>
        <pc:sldMkLst>
          <pc:docMk/>
          <pc:sldMk cId="4043872747" sldId="2673"/>
        </pc:sldMkLst>
      </pc:sldChg>
      <pc:sldChg chg="del">
        <pc:chgData name="Aurelien Domont" userId="6da7715ce44349b3" providerId="LiveId" clId="{1F031B4F-7A08-47B6-9BBE-3BE595172CA2}" dt="2023-02-15T23:33:31.949" v="1167" actId="47"/>
        <pc:sldMkLst>
          <pc:docMk/>
          <pc:sldMk cId="2089395828" sldId="2674"/>
        </pc:sldMkLst>
      </pc:sldChg>
      <pc:sldChg chg="del">
        <pc:chgData name="Aurelien Domont" userId="6da7715ce44349b3" providerId="LiveId" clId="{1F031B4F-7A08-47B6-9BBE-3BE595172CA2}" dt="2023-02-15T23:33:35.567" v="1169" actId="47"/>
        <pc:sldMkLst>
          <pc:docMk/>
          <pc:sldMk cId="1286297924" sldId="2675"/>
        </pc:sldMkLst>
      </pc:sldChg>
      <pc:sldChg chg="del">
        <pc:chgData name="Aurelien Domont" userId="6da7715ce44349b3" providerId="LiveId" clId="{1F031B4F-7A08-47B6-9BBE-3BE595172CA2}" dt="2023-02-15T23:33:39.553" v="1171" actId="47"/>
        <pc:sldMkLst>
          <pc:docMk/>
          <pc:sldMk cId="3489293858" sldId="2676"/>
        </pc:sldMkLst>
      </pc:sldChg>
      <pc:sldChg chg="del">
        <pc:chgData name="Aurelien Domont" userId="6da7715ce44349b3" providerId="LiveId" clId="{1F031B4F-7A08-47B6-9BBE-3BE595172CA2}" dt="2023-02-15T23:33:43.801" v="1173" actId="47"/>
        <pc:sldMkLst>
          <pc:docMk/>
          <pc:sldMk cId="1167447741" sldId="2677"/>
        </pc:sldMkLst>
      </pc:sldChg>
      <pc:sldChg chg="del">
        <pc:chgData name="Aurelien Domont" userId="6da7715ce44349b3" providerId="LiveId" clId="{1F031B4F-7A08-47B6-9BBE-3BE595172CA2}" dt="2023-02-15T23:33:47.726" v="1175" actId="47"/>
        <pc:sldMkLst>
          <pc:docMk/>
          <pc:sldMk cId="288502003" sldId="2678"/>
        </pc:sldMkLst>
      </pc:sldChg>
      <pc:sldChg chg="del">
        <pc:chgData name="Aurelien Domont" userId="6da7715ce44349b3" providerId="LiveId" clId="{1F031B4F-7A08-47B6-9BBE-3BE595172CA2}" dt="2023-02-15T23:33:51.835" v="1177" actId="47"/>
        <pc:sldMkLst>
          <pc:docMk/>
          <pc:sldMk cId="746594719" sldId="2679"/>
        </pc:sldMkLst>
      </pc:sldChg>
      <pc:sldChg chg="del">
        <pc:chgData name="Aurelien Domont" userId="6da7715ce44349b3" providerId="LiveId" clId="{1F031B4F-7A08-47B6-9BBE-3BE595172CA2}" dt="2023-02-15T23:33:55.384" v="1179" actId="47"/>
        <pc:sldMkLst>
          <pc:docMk/>
          <pc:sldMk cId="1483007639" sldId="2680"/>
        </pc:sldMkLst>
      </pc:sldChg>
      <pc:sldChg chg="del">
        <pc:chgData name="Aurelien Domont" userId="6da7715ce44349b3" providerId="LiveId" clId="{1F031B4F-7A08-47B6-9BBE-3BE595172CA2}" dt="2023-02-15T23:33:58.663" v="1181" actId="47"/>
        <pc:sldMkLst>
          <pc:docMk/>
          <pc:sldMk cId="205051816" sldId="2681"/>
        </pc:sldMkLst>
      </pc:sldChg>
      <pc:sldChg chg="addSp delSp modSp mod">
        <pc:chgData name="Aurelien Domont" userId="6da7715ce44349b3" providerId="LiveId" clId="{1F031B4F-7A08-47B6-9BBE-3BE595172CA2}" dt="2023-02-14T06:08:51.600" v="440"/>
        <pc:sldMkLst>
          <pc:docMk/>
          <pc:sldMk cId="3174988895" sldId="2684"/>
        </pc:sldMkLst>
        <pc:spChg chg="add mod">
          <ac:chgData name="Aurelien Domont" userId="6da7715ce44349b3" providerId="LiveId" clId="{1F031B4F-7A08-47B6-9BBE-3BE595172CA2}" dt="2023-02-14T06:08:51.600" v="440"/>
          <ac:spMkLst>
            <pc:docMk/>
            <pc:sldMk cId="3174988895" sldId="2684"/>
            <ac:spMk id="4" creationId="{CFCF63BD-7037-3332-79BA-EE5BA5143E2B}"/>
          </ac:spMkLst>
        </pc:spChg>
        <pc:spChg chg="del">
          <ac:chgData name="Aurelien Domont" userId="6da7715ce44349b3" providerId="LiveId" clId="{1F031B4F-7A08-47B6-9BBE-3BE595172CA2}" dt="2023-02-14T06:08:50.351" v="439" actId="478"/>
          <ac:spMkLst>
            <pc:docMk/>
            <pc:sldMk cId="3174988895" sldId="2684"/>
            <ac:spMk id="20" creationId="{6C4AA021-3684-1644-CCAB-59E948D97C74}"/>
          </ac:spMkLst>
        </pc:spChg>
      </pc:sldChg>
      <pc:sldChg chg="addSp delSp modSp mod">
        <pc:chgData name="Aurelien Domont" userId="6da7715ce44349b3" providerId="LiveId" clId="{1F031B4F-7A08-47B6-9BBE-3BE595172CA2}" dt="2023-02-14T06:24:45.599" v="485" actId="21"/>
        <pc:sldMkLst>
          <pc:docMk/>
          <pc:sldMk cId="1242881402" sldId="2685"/>
        </pc:sldMkLst>
        <pc:spChg chg="mod">
          <ac:chgData name="Aurelien Domont" userId="6da7715ce44349b3" providerId="LiveId" clId="{1F031B4F-7A08-47B6-9BBE-3BE595172CA2}" dt="2023-02-14T06:11:37.127" v="452" actId="208"/>
          <ac:spMkLst>
            <pc:docMk/>
            <pc:sldMk cId="1242881402" sldId="2685"/>
            <ac:spMk id="2" creationId="{E96C98A7-08AC-D2FD-3312-593F1685EF2E}"/>
          </ac:spMkLst>
        </pc:spChg>
        <pc:spChg chg="add del mod">
          <ac:chgData name="Aurelien Domont" userId="6da7715ce44349b3" providerId="LiveId" clId="{1F031B4F-7A08-47B6-9BBE-3BE595172CA2}" dt="2023-02-14T06:24:45.599" v="485" actId="21"/>
          <ac:spMkLst>
            <pc:docMk/>
            <pc:sldMk cId="1242881402" sldId="2685"/>
            <ac:spMk id="3" creationId="{69EE5132-05C1-69EB-8A86-A2BFD5A27B68}"/>
          </ac:spMkLst>
        </pc:spChg>
        <pc:spChg chg="del">
          <ac:chgData name="Aurelien Domont" userId="6da7715ce44349b3" providerId="LiveId" clId="{1F031B4F-7A08-47B6-9BBE-3BE595172CA2}" dt="2023-02-14T06:08:45" v="437" actId="478"/>
          <ac:spMkLst>
            <pc:docMk/>
            <pc:sldMk cId="1242881402" sldId="2685"/>
            <ac:spMk id="3" creationId="{CE2529A3-BA97-486F-9E02-8DFAAA7D8D38}"/>
          </ac:spMkLst>
        </pc:spChg>
        <pc:spChg chg="mod">
          <ac:chgData name="Aurelien Domont" userId="6da7715ce44349b3" providerId="LiveId" clId="{1F031B4F-7A08-47B6-9BBE-3BE595172CA2}" dt="2023-02-14T06:11:50.496" v="453" actId="208"/>
          <ac:spMkLst>
            <pc:docMk/>
            <pc:sldMk cId="1242881402" sldId="2685"/>
            <ac:spMk id="4" creationId="{8D0F2C3F-95CA-CC10-B334-1F848B083ACF}"/>
          </ac:spMkLst>
        </pc:spChg>
        <pc:spChg chg="mod">
          <ac:chgData name="Aurelien Domont" userId="6da7715ce44349b3" providerId="LiveId" clId="{1F031B4F-7A08-47B6-9BBE-3BE595172CA2}" dt="2023-02-14T06:11:50.496" v="453" actId="208"/>
          <ac:spMkLst>
            <pc:docMk/>
            <pc:sldMk cId="1242881402" sldId="2685"/>
            <ac:spMk id="5" creationId="{33FDE8E5-E2D4-EEA8-D559-40FD105D7D33}"/>
          </ac:spMkLst>
        </pc:spChg>
        <pc:spChg chg="mod">
          <ac:chgData name="Aurelien Domont" userId="6da7715ce44349b3" providerId="LiveId" clId="{1F031B4F-7A08-47B6-9BBE-3BE595172CA2}" dt="2023-02-14T06:11:37.127" v="452" actId="208"/>
          <ac:spMkLst>
            <pc:docMk/>
            <pc:sldMk cId="1242881402" sldId="2685"/>
            <ac:spMk id="6" creationId="{269E7C9F-F8C5-7F4A-8B79-7BED2C7AEECF}"/>
          </ac:spMkLst>
        </pc:spChg>
        <pc:spChg chg="mod">
          <ac:chgData name="Aurelien Domont" userId="6da7715ce44349b3" providerId="LiveId" clId="{1F031B4F-7A08-47B6-9BBE-3BE595172CA2}" dt="2023-02-14T06:11:50.496" v="453" actId="208"/>
          <ac:spMkLst>
            <pc:docMk/>
            <pc:sldMk cId="1242881402" sldId="2685"/>
            <ac:spMk id="7" creationId="{FCC59F77-18D4-9852-8B94-C202087BE655}"/>
          </ac:spMkLst>
        </pc:spChg>
        <pc:spChg chg="mod">
          <ac:chgData name="Aurelien Domont" userId="6da7715ce44349b3" providerId="LiveId" clId="{1F031B4F-7A08-47B6-9BBE-3BE595172CA2}" dt="2023-02-14T06:11:50.496" v="453" actId="208"/>
          <ac:spMkLst>
            <pc:docMk/>
            <pc:sldMk cId="1242881402" sldId="2685"/>
            <ac:spMk id="8" creationId="{D0EF6C8F-F72D-AA65-46B7-AEBF2D71D2BB}"/>
          </ac:spMkLst>
        </pc:spChg>
        <pc:spChg chg="mod">
          <ac:chgData name="Aurelien Domont" userId="6da7715ce44349b3" providerId="LiveId" clId="{1F031B4F-7A08-47B6-9BBE-3BE595172CA2}" dt="2023-02-14T06:11:50.496" v="453" actId="208"/>
          <ac:spMkLst>
            <pc:docMk/>
            <pc:sldMk cId="1242881402" sldId="2685"/>
            <ac:spMk id="10" creationId="{9AA9E439-E2BF-A51C-949F-FE2B587325E2}"/>
          </ac:spMkLst>
        </pc:spChg>
        <pc:spChg chg="mod">
          <ac:chgData name="Aurelien Domont" userId="6da7715ce44349b3" providerId="LiveId" clId="{1F031B4F-7A08-47B6-9BBE-3BE595172CA2}" dt="2023-02-14T06:11:50.496" v="453" actId="208"/>
          <ac:spMkLst>
            <pc:docMk/>
            <pc:sldMk cId="1242881402" sldId="2685"/>
            <ac:spMk id="11" creationId="{E399082D-1209-EADB-E882-F103A3998A6E}"/>
          </ac:spMkLst>
        </pc:spChg>
        <pc:spChg chg="mod">
          <ac:chgData name="Aurelien Domont" userId="6da7715ce44349b3" providerId="LiveId" clId="{1F031B4F-7A08-47B6-9BBE-3BE595172CA2}" dt="2023-02-14T06:11:50.496" v="453" actId="208"/>
          <ac:spMkLst>
            <pc:docMk/>
            <pc:sldMk cId="1242881402" sldId="2685"/>
            <ac:spMk id="12" creationId="{EB07E748-4D29-BA94-8312-C528DDC5529A}"/>
          </ac:spMkLst>
        </pc:spChg>
        <pc:spChg chg="mod">
          <ac:chgData name="Aurelien Domont" userId="6da7715ce44349b3" providerId="LiveId" clId="{1F031B4F-7A08-47B6-9BBE-3BE595172CA2}" dt="2023-02-14T06:11:50.496" v="453" actId="208"/>
          <ac:spMkLst>
            <pc:docMk/>
            <pc:sldMk cId="1242881402" sldId="2685"/>
            <ac:spMk id="14" creationId="{F0C6781B-81C4-2C52-92DB-7F6C35E9ADD7}"/>
          </ac:spMkLst>
        </pc:spChg>
        <pc:spChg chg="add mod">
          <ac:chgData name="Aurelien Domont" userId="6da7715ce44349b3" providerId="LiveId" clId="{1F031B4F-7A08-47B6-9BBE-3BE595172CA2}" dt="2023-02-14T06:08:46.046" v="438"/>
          <ac:spMkLst>
            <pc:docMk/>
            <pc:sldMk cId="1242881402" sldId="2685"/>
            <ac:spMk id="20" creationId="{8B1FB5D5-D01C-3FA6-908F-91B1D4A98E43}"/>
          </ac:spMkLst>
        </pc:spChg>
        <pc:grpChg chg="mod">
          <ac:chgData name="Aurelien Domont" userId="6da7715ce44349b3" providerId="LiveId" clId="{1F031B4F-7A08-47B6-9BBE-3BE595172CA2}" dt="2023-02-14T06:09:54.153" v="451" actId="14100"/>
          <ac:grpSpMkLst>
            <pc:docMk/>
            <pc:sldMk cId="1242881402" sldId="2685"/>
            <ac:grpSpMk id="9" creationId="{23AD1FC7-E0FB-0BDD-D8CE-24BBACDB4AB8}"/>
          </ac:grpSpMkLst>
        </pc:grpChg>
        <pc:grpChg chg="mod">
          <ac:chgData name="Aurelien Domont" userId="6da7715ce44349b3" providerId="LiveId" clId="{1F031B4F-7A08-47B6-9BBE-3BE595172CA2}" dt="2023-02-14T06:09:45.144" v="447" actId="1037"/>
          <ac:grpSpMkLst>
            <pc:docMk/>
            <pc:sldMk cId="1242881402" sldId="2685"/>
            <ac:grpSpMk id="15" creationId="{D8A01AAD-DCA6-B5A1-0C47-E5464D9FBC8D}"/>
          </ac:grpSpMkLst>
        </pc:grpChg>
        <pc:grpChg chg="mod">
          <ac:chgData name="Aurelien Domont" userId="6da7715ce44349b3" providerId="LiveId" clId="{1F031B4F-7A08-47B6-9BBE-3BE595172CA2}" dt="2023-02-14T06:09:45.144" v="447" actId="1037"/>
          <ac:grpSpMkLst>
            <pc:docMk/>
            <pc:sldMk cId="1242881402" sldId="2685"/>
            <ac:grpSpMk id="19" creationId="{C40399F8-8AD0-D198-E013-B9EBDEE417F5}"/>
          </ac:grpSpMkLst>
        </pc:grpChg>
      </pc:sldChg>
      <pc:sldChg chg="modSp mod">
        <pc:chgData name="Aurelien Domont" userId="6da7715ce44349b3" providerId="LiveId" clId="{1F031B4F-7A08-47B6-9BBE-3BE595172CA2}" dt="2023-02-14T06:22:39.690" v="474" actId="113"/>
        <pc:sldMkLst>
          <pc:docMk/>
          <pc:sldMk cId="3418254875" sldId="2688"/>
        </pc:sldMkLst>
        <pc:graphicFrameChg chg="modGraphic">
          <ac:chgData name="Aurelien Domont" userId="6da7715ce44349b3" providerId="LiveId" clId="{1F031B4F-7A08-47B6-9BBE-3BE595172CA2}" dt="2023-02-14T06:22:39.690" v="474" actId="113"/>
          <ac:graphicFrameMkLst>
            <pc:docMk/>
            <pc:sldMk cId="3418254875" sldId="2688"/>
            <ac:graphicFrameMk id="4" creationId="{650E22A7-3D63-6230-C37E-4C48A9FF7881}"/>
          </ac:graphicFrameMkLst>
        </pc:graphicFrameChg>
      </pc:sldChg>
      <pc:sldChg chg="modSp mod">
        <pc:chgData name="Aurelien Domont" userId="6da7715ce44349b3" providerId="LiveId" clId="{1F031B4F-7A08-47B6-9BBE-3BE595172CA2}" dt="2023-02-14T07:16:39.795" v="569"/>
        <pc:sldMkLst>
          <pc:docMk/>
          <pc:sldMk cId="3274122682" sldId="2692"/>
        </pc:sldMkLst>
        <pc:spChg chg="mod">
          <ac:chgData name="Aurelien Domont" userId="6da7715ce44349b3" providerId="LiveId" clId="{1F031B4F-7A08-47B6-9BBE-3BE595172CA2}" dt="2023-02-14T07:16:39.795" v="569"/>
          <ac:spMkLst>
            <pc:docMk/>
            <pc:sldMk cId="3274122682" sldId="2692"/>
            <ac:spMk id="25" creationId="{1770AA5B-2926-3213-735F-D104B8270769}"/>
          </ac:spMkLst>
        </pc:spChg>
      </pc:sldChg>
      <pc:sldChg chg="addSp delSp modSp mod">
        <pc:chgData name="Aurelien Domont" userId="6da7715ce44349b3" providerId="LiveId" clId="{1F031B4F-7A08-47B6-9BBE-3BE595172CA2}" dt="2023-02-14T07:22:29.746" v="579" actId="21"/>
        <pc:sldMkLst>
          <pc:docMk/>
          <pc:sldMk cId="3797008395" sldId="2693"/>
        </pc:sldMkLst>
        <pc:spChg chg="add del mod">
          <ac:chgData name="Aurelien Domont" userId="6da7715ce44349b3" providerId="LiveId" clId="{1F031B4F-7A08-47B6-9BBE-3BE595172CA2}" dt="2023-02-14T07:22:29.746" v="579" actId="21"/>
          <ac:spMkLst>
            <pc:docMk/>
            <pc:sldMk cId="3797008395" sldId="2693"/>
            <ac:spMk id="2" creationId="{7A6388BA-16E1-581D-D6F4-5F0005EF4335}"/>
          </ac:spMkLst>
        </pc:spChg>
        <pc:spChg chg="mod">
          <ac:chgData name="Aurelien Domont" userId="6da7715ce44349b3" providerId="LiveId" clId="{1F031B4F-7A08-47B6-9BBE-3BE595172CA2}" dt="2023-02-14T07:17:42.563" v="570" actId="20577"/>
          <ac:spMkLst>
            <pc:docMk/>
            <pc:sldMk cId="3797008395" sldId="2693"/>
            <ac:spMk id="6" creationId="{A1742A61-D9E3-7593-F8BC-49557DAD0C5C}"/>
          </ac:spMkLst>
        </pc:spChg>
      </pc:sldChg>
      <pc:sldChg chg="addSp delSp modSp mod">
        <pc:chgData name="Aurelien Domont" userId="6da7715ce44349b3" providerId="LiveId" clId="{1F031B4F-7A08-47B6-9BBE-3BE595172CA2}" dt="2023-02-14T07:19:52.649" v="576"/>
        <pc:sldMkLst>
          <pc:docMk/>
          <pc:sldMk cId="2598134555" sldId="2694"/>
        </pc:sldMkLst>
        <pc:spChg chg="del">
          <ac:chgData name="Aurelien Domont" userId="6da7715ce44349b3" providerId="LiveId" clId="{1F031B4F-7A08-47B6-9BBE-3BE595172CA2}" dt="2023-02-14T07:19:52.342" v="575" actId="478"/>
          <ac:spMkLst>
            <pc:docMk/>
            <pc:sldMk cId="2598134555" sldId="2694"/>
            <ac:spMk id="3" creationId="{CE2529A3-BA97-486F-9E02-8DFAAA7D8D38}"/>
          </ac:spMkLst>
        </pc:spChg>
        <pc:spChg chg="add mod">
          <ac:chgData name="Aurelien Domont" userId="6da7715ce44349b3" providerId="LiveId" clId="{1F031B4F-7A08-47B6-9BBE-3BE595172CA2}" dt="2023-02-14T07:19:52.649" v="576"/>
          <ac:spMkLst>
            <pc:docMk/>
            <pc:sldMk cId="2598134555" sldId="2694"/>
            <ac:spMk id="9" creationId="{3B5E2120-22B9-F562-8041-7C78763B4333}"/>
          </ac:spMkLst>
        </pc:spChg>
        <pc:spChg chg="mod">
          <ac:chgData name="Aurelien Domont" userId="6da7715ce44349b3" providerId="LiveId" clId="{1F031B4F-7A08-47B6-9BBE-3BE595172CA2}" dt="2023-02-14T07:19:01.466" v="573" actId="5793"/>
          <ac:spMkLst>
            <pc:docMk/>
            <pc:sldMk cId="2598134555" sldId="2694"/>
            <ac:spMk id="10" creationId="{EF9F95A1-8E2A-07A4-E603-6FABB1D54E5A}"/>
          </ac:spMkLst>
        </pc:spChg>
        <pc:spChg chg="mod">
          <ac:chgData name="Aurelien Domont" userId="6da7715ce44349b3" providerId="LiveId" clId="{1F031B4F-7A08-47B6-9BBE-3BE595172CA2}" dt="2023-02-14T07:19:03.994" v="574" actId="5793"/>
          <ac:spMkLst>
            <pc:docMk/>
            <pc:sldMk cId="2598134555" sldId="2694"/>
            <ac:spMk id="11" creationId="{5A271FF8-0C1D-FCDF-B36F-550F87608945}"/>
          </ac:spMkLst>
        </pc:spChg>
      </pc:sldChg>
      <pc:sldChg chg="addSp delSp modSp mod">
        <pc:chgData name="Aurelien Domont" userId="6da7715ce44349b3" providerId="LiveId" clId="{1F031B4F-7A08-47B6-9BBE-3BE595172CA2}" dt="2023-02-14T07:19:56.854" v="578"/>
        <pc:sldMkLst>
          <pc:docMk/>
          <pc:sldMk cId="610895617" sldId="2695"/>
        </pc:sldMkLst>
        <pc:spChg chg="mod">
          <ac:chgData name="Aurelien Domont" userId="6da7715ce44349b3" providerId="LiveId" clId="{1F031B4F-7A08-47B6-9BBE-3BE595172CA2}" dt="2023-02-14T07:07:59.441" v="491" actId="313"/>
          <ac:spMkLst>
            <pc:docMk/>
            <pc:sldMk cId="610895617" sldId="2695"/>
            <ac:spMk id="4" creationId="{D5ED2F0D-D3EA-D96E-ED10-224986FAA24E}"/>
          </ac:spMkLst>
        </pc:spChg>
        <pc:spChg chg="del">
          <ac:chgData name="Aurelien Domont" userId="6da7715ce44349b3" providerId="LiveId" clId="{1F031B4F-7A08-47B6-9BBE-3BE595172CA2}" dt="2023-02-14T07:19:56.663" v="577" actId="478"/>
          <ac:spMkLst>
            <pc:docMk/>
            <pc:sldMk cId="610895617" sldId="2695"/>
            <ac:spMk id="5" creationId="{EB21C888-0D0C-6330-C608-584D3E7E129B}"/>
          </ac:spMkLst>
        </pc:spChg>
        <pc:spChg chg="add mod">
          <ac:chgData name="Aurelien Domont" userId="6da7715ce44349b3" providerId="LiveId" clId="{1F031B4F-7A08-47B6-9BBE-3BE595172CA2}" dt="2023-02-14T07:19:56.854" v="578"/>
          <ac:spMkLst>
            <pc:docMk/>
            <pc:sldMk cId="610895617" sldId="2695"/>
            <ac:spMk id="18" creationId="{68E4966A-8C44-60BD-71C7-D0732D68799B}"/>
          </ac:spMkLst>
        </pc:spChg>
      </pc:sldChg>
      <pc:sldChg chg="modSp mod">
        <pc:chgData name="Aurelien Domont" userId="6da7715ce44349b3" providerId="LiveId" clId="{1F031B4F-7A08-47B6-9BBE-3BE595172CA2}" dt="2023-02-14T07:11:24.356" v="559" actId="1035"/>
        <pc:sldMkLst>
          <pc:docMk/>
          <pc:sldMk cId="4236249346" sldId="2696"/>
        </pc:sldMkLst>
        <pc:graphicFrameChg chg="mod modGraphic">
          <ac:chgData name="Aurelien Domont" userId="6da7715ce44349b3" providerId="LiveId" clId="{1F031B4F-7A08-47B6-9BBE-3BE595172CA2}" dt="2023-02-14T07:11:09.685" v="540" actId="6549"/>
          <ac:graphicFrameMkLst>
            <pc:docMk/>
            <pc:sldMk cId="4236249346" sldId="2696"/>
            <ac:graphicFrameMk id="5" creationId="{CB3CE04B-695B-943C-FD13-E4ADE63F943C}"/>
          </ac:graphicFrameMkLst>
        </pc:graphicFrameChg>
        <pc:picChg chg="mod">
          <ac:chgData name="Aurelien Domont" userId="6da7715ce44349b3" providerId="LiveId" clId="{1F031B4F-7A08-47B6-9BBE-3BE595172CA2}" dt="2023-02-14T07:11:24.356" v="559" actId="1035"/>
          <ac:picMkLst>
            <pc:docMk/>
            <pc:sldMk cId="4236249346" sldId="2696"/>
            <ac:picMk id="4" creationId="{CEE293BE-CFB5-74D9-8B10-04C088416BA9}"/>
          </ac:picMkLst>
        </pc:picChg>
        <pc:picChg chg="mod">
          <ac:chgData name="Aurelien Domont" userId="6da7715ce44349b3" providerId="LiveId" clId="{1F031B4F-7A08-47B6-9BBE-3BE595172CA2}" dt="2023-02-14T07:11:24.356" v="559" actId="1035"/>
          <ac:picMkLst>
            <pc:docMk/>
            <pc:sldMk cId="4236249346" sldId="2696"/>
            <ac:picMk id="11" creationId="{FAB348E7-D976-A9BB-1B3B-4F17594162BA}"/>
          </ac:picMkLst>
        </pc:picChg>
        <pc:picChg chg="mod">
          <ac:chgData name="Aurelien Domont" userId="6da7715ce44349b3" providerId="LiveId" clId="{1F031B4F-7A08-47B6-9BBE-3BE595172CA2}" dt="2023-02-14T07:11:24.356" v="559" actId="1035"/>
          <ac:picMkLst>
            <pc:docMk/>
            <pc:sldMk cId="4236249346" sldId="2696"/>
            <ac:picMk id="14" creationId="{41D50BC2-8D06-262C-5E83-34469EFBFA63}"/>
          </ac:picMkLst>
        </pc:picChg>
        <pc:picChg chg="mod">
          <ac:chgData name="Aurelien Domont" userId="6da7715ce44349b3" providerId="LiveId" clId="{1F031B4F-7A08-47B6-9BBE-3BE595172CA2}" dt="2023-02-14T07:11:24.356" v="559" actId="1035"/>
          <ac:picMkLst>
            <pc:docMk/>
            <pc:sldMk cId="4236249346" sldId="2696"/>
            <ac:picMk id="18" creationId="{56061DC1-8ED9-F7CF-F236-B97D51B649F3}"/>
          </ac:picMkLst>
        </pc:picChg>
        <pc:picChg chg="mod">
          <ac:chgData name="Aurelien Domont" userId="6da7715ce44349b3" providerId="LiveId" clId="{1F031B4F-7A08-47B6-9BBE-3BE595172CA2}" dt="2023-02-14T07:11:24.356" v="559" actId="1035"/>
          <ac:picMkLst>
            <pc:docMk/>
            <pc:sldMk cId="4236249346" sldId="2696"/>
            <ac:picMk id="20" creationId="{92062F48-0479-450D-2544-57DB10BB4DC2}"/>
          </ac:picMkLst>
        </pc:picChg>
        <pc:picChg chg="mod">
          <ac:chgData name="Aurelien Domont" userId="6da7715ce44349b3" providerId="LiveId" clId="{1F031B4F-7A08-47B6-9BBE-3BE595172CA2}" dt="2023-02-14T07:11:24.356" v="559" actId="1035"/>
          <ac:picMkLst>
            <pc:docMk/>
            <pc:sldMk cId="4236249346" sldId="2696"/>
            <ac:picMk id="24" creationId="{5D5225A9-9930-B6B2-4DD8-9C05A306E496}"/>
          </ac:picMkLst>
        </pc:picChg>
        <pc:picChg chg="mod">
          <ac:chgData name="Aurelien Domont" userId="6da7715ce44349b3" providerId="LiveId" clId="{1F031B4F-7A08-47B6-9BBE-3BE595172CA2}" dt="2023-02-14T07:11:24.356" v="559" actId="1035"/>
          <ac:picMkLst>
            <pc:docMk/>
            <pc:sldMk cId="4236249346" sldId="2696"/>
            <ac:picMk id="28" creationId="{1714ADBC-BE77-6763-CD40-6FE5E2801824}"/>
          </ac:picMkLst>
        </pc:picChg>
        <pc:picChg chg="mod">
          <ac:chgData name="Aurelien Domont" userId="6da7715ce44349b3" providerId="LiveId" clId="{1F031B4F-7A08-47B6-9BBE-3BE595172CA2}" dt="2023-02-14T07:11:24.356" v="559" actId="1035"/>
          <ac:picMkLst>
            <pc:docMk/>
            <pc:sldMk cId="4236249346" sldId="2696"/>
            <ac:picMk id="30" creationId="{190F1B4F-D7D1-E70E-4574-A819C50E35C6}"/>
          </ac:picMkLst>
        </pc:picChg>
        <pc:picChg chg="mod">
          <ac:chgData name="Aurelien Domont" userId="6da7715ce44349b3" providerId="LiveId" clId="{1F031B4F-7A08-47B6-9BBE-3BE595172CA2}" dt="2023-02-14T07:11:24.356" v="559" actId="1035"/>
          <ac:picMkLst>
            <pc:docMk/>
            <pc:sldMk cId="4236249346" sldId="2696"/>
            <ac:picMk id="32" creationId="{EA2B46C6-EEEA-3C0E-B1B6-29867B539C57}"/>
          </ac:picMkLst>
        </pc:picChg>
      </pc:sldChg>
      <pc:sldChg chg="addSp delSp modSp mod">
        <pc:chgData name="Aurelien Domont" userId="6da7715ce44349b3" providerId="LiveId" clId="{1F031B4F-7A08-47B6-9BBE-3BE595172CA2}" dt="2023-02-16T00:11:26.258" v="1684" actId="948"/>
        <pc:sldMkLst>
          <pc:docMk/>
          <pc:sldMk cId="2834671872" sldId="2699"/>
        </pc:sldMkLst>
        <pc:spChg chg="mod">
          <ac:chgData name="Aurelien Domont" userId="6da7715ce44349b3" providerId="LiveId" clId="{1F031B4F-7A08-47B6-9BBE-3BE595172CA2}" dt="2023-02-16T00:11:26.258" v="1684" actId="948"/>
          <ac:spMkLst>
            <pc:docMk/>
            <pc:sldMk cId="2834671872" sldId="2699"/>
            <ac:spMk id="6" creationId="{925DDD0A-01CE-7FB4-14EA-5618B9C4E995}"/>
          </ac:spMkLst>
        </pc:spChg>
        <pc:spChg chg="add del mod">
          <ac:chgData name="Aurelien Domont" userId="6da7715ce44349b3" providerId="LiveId" clId="{1F031B4F-7A08-47B6-9BBE-3BE595172CA2}" dt="2023-02-14T07:26:06.974" v="582" actId="478"/>
          <ac:spMkLst>
            <pc:docMk/>
            <pc:sldMk cId="2834671872" sldId="2699"/>
            <ac:spMk id="9" creationId="{101D6C83-66DE-C69D-1100-923230058ACF}"/>
          </ac:spMkLst>
        </pc:spChg>
        <pc:spChg chg="mod">
          <ac:chgData name="Aurelien Domont" userId="6da7715ce44349b3" providerId="LiveId" clId="{1F031B4F-7A08-47B6-9BBE-3BE595172CA2}" dt="2023-02-16T00:06:47.466" v="1606" actId="6549"/>
          <ac:spMkLst>
            <pc:docMk/>
            <pc:sldMk cId="2834671872" sldId="2699"/>
            <ac:spMk id="16" creationId="{6C2BB713-9637-4B9B-938F-E9768876782A}"/>
          </ac:spMkLst>
        </pc:spChg>
      </pc:sldChg>
      <pc:sldChg chg="addSp delSp del mod">
        <pc:chgData name="Aurelien Domont" userId="6da7715ce44349b3" providerId="LiveId" clId="{1F031B4F-7A08-47B6-9BBE-3BE595172CA2}" dt="2023-02-16T00:06:43.490" v="1600" actId="47"/>
        <pc:sldMkLst>
          <pc:docMk/>
          <pc:sldMk cId="417430949" sldId="2700"/>
        </pc:sldMkLst>
        <pc:spChg chg="add del">
          <ac:chgData name="Aurelien Domont" userId="6da7715ce44349b3" providerId="LiveId" clId="{1F031B4F-7A08-47B6-9BBE-3BE595172CA2}" dt="2023-02-14T07:32:18.023" v="606" actId="21"/>
          <ac:spMkLst>
            <pc:docMk/>
            <pc:sldMk cId="417430949" sldId="2700"/>
            <ac:spMk id="3" creationId="{CE2529A3-BA97-486F-9E02-8DFAAA7D8D38}"/>
          </ac:spMkLst>
        </pc:spChg>
      </pc:sldChg>
      <pc:sldChg chg="del">
        <pc:chgData name="Aurelien Domont" userId="6da7715ce44349b3" providerId="LiveId" clId="{1F031B4F-7A08-47B6-9BBE-3BE595172CA2}" dt="2023-02-15T23:34:02.673" v="1183" actId="47"/>
        <pc:sldMkLst>
          <pc:docMk/>
          <pc:sldMk cId="2950204638" sldId="2701"/>
        </pc:sldMkLst>
      </pc:sldChg>
      <pc:sldChg chg="modSp mod">
        <pc:chgData name="Aurelien Domont" userId="6da7715ce44349b3" providerId="LiveId" clId="{1F031B4F-7A08-47B6-9BBE-3BE595172CA2}" dt="2023-02-16T00:14:21.507" v="1731" actId="20577"/>
        <pc:sldMkLst>
          <pc:docMk/>
          <pc:sldMk cId="3807224539" sldId="2702"/>
        </pc:sldMkLst>
        <pc:spChg chg="mod">
          <ac:chgData name="Aurelien Domont" userId="6da7715ce44349b3" providerId="LiveId" clId="{1F031B4F-7A08-47B6-9BBE-3BE595172CA2}" dt="2023-02-16T00:14:17.415" v="1725" actId="1035"/>
          <ac:spMkLst>
            <pc:docMk/>
            <pc:sldMk cId="3807224539" sldId="2702"/>
            <ac:spMk id="6" creationId="{925DDD0A-01CE-7FB4-14EA-5618B9C4E995}"/>
          </ac:spMkLst>
        </pc:spChg>
        <pc:spChg chg="mod">
          <ac:chgData name="Aurelien Domont" userId="6da7715ce44349b3" providerId="LiveId" clId="{1F031B4F-7A08-47B6-9BBE-3BE595172CA2}" dt="2023-02-16T00:14:21.507" v="1731" actId="20577"/>
          <ac:spMkLst>
            <pc:docMk/>
            <pc:sldMk cId="3807224539" sldId="2702"/>
            <ac:spMk id="16" creationId="{6C2BB713-9637-4B9B-938F-E9768876782A}"/>
          </ac:spMkLst>
        </pc:spChg>
      </pc:sldChg>
      <pc:sldChg chg="del">
        <pc:chgData name="Aurelien Domont" userId="6da7715ce44349b3" providerId="LiveId" clId="{1F031B4F-7A08-47B6-9BBE-3BE595172CA2}" dt="2023-02-16T00:14:26.742" v="1732" actId="47"/>
        <pc:sldMkLst>
          <pc:docMk/>
          <pc:sldMk cId="634799592" sldId="2703"/>
        </pc:sldMkLst>
      </pc:sldChg>
      <pc:sldChg chg="addSp delSp modSp mod">
        <pc:chgData name="Aurelien Domont" userId="6da7715ce44349b3" providerId="LiveId" clId="{1F031B4F-7A08-47B6-9BBE-3BE595172CA2}" dt="2023-02-14T06:20:39.528" v="473" actId="113"/>
        <pc:sldMkLst>
          <pc:docMk/>
          <pc:sldMk cId="17386054" sldId="2704"/>
        </pc:sldMkLst>
        <pc:spChg chg="mod">
          <ac:chgData name="Aurelien Domont" userId="6da7715ce44349b3" providerId="LiveId" clId="{1F031B4F-7A08-47B6-9BBE-3BE595172CA2}" dt="2023-02-14T06:20:39.528" v="473" actId="113"/>
          <ac:spMkLst>
            <pc:docMk/>
            <pc:sldMk cId="17386054" sldId="2704"/>
            <ac:spMk id="2" creationId="{562281EE-2937-C9F4-E468-ED5CB485B421}"/>
          </ac:spMkLst>
        </pc:spChg>
        <pc:spChg chg="add mod">
          <ac:chgData name="Aurelien Domont" userId="6da7715ce44349b3" providerId="LiveId" clId="{1F031B4F-7A08-47B6-9BBE-3BE595172CA2}" dt="2023-02-14T06:08:55.945" v="442"/>
          <ac:spMkLst>
            <pc:docMk/>
            <pc:sldMk cId="17386054" sldId="2704"/>
            <ac:spMk id="3" creationId="{8277C8A2-0C26-7C61-873F-399C3A3EB951}"/>
          </ac:spMkLst>
        </pc:spChg>
        <pc:spChg chg="del">
          <ac:chgData name="Aurelien Domont" userId="6da7715ce44349b3" providerId="LiveId" clId="{1F031B4F-7A08-47B6-9BBE-3BE595172CA2}" dt="2023-02-14T06:08:55.413" v="441" actId="478"/>
          <ac:spMkLst>
            <pc:docMk/>
            <pc:sldMk cId="17386054" sldId="2704"/>
            <ac:spMk id="20" creationId="{6C4AA021-3684-1644-CCAB-59E948D97C74}"/>
          </ac:spMkLst>
        </pc:spChg>
      </pc:sldChg>
      <pc:sldChg chg="modSp mod">
        <pc:chgData name="Aurelien Domont" userId="6da7715ce44349b3" providerId="LiveId" clId="{1F031B4F-7A08-47B6-9BBE-3BE595172CA2}" dt="2023-02-14T06:24:21.546" v="484" actId="113"/>
        <pc:sldMkLst>
          <pc:docMk/>
          <pc:sldMk cId="282272003" sldId="2705"/>
        </pc:sldMkLst>
        <pc:spChg chg="mod">
          <ac:chgData name="Aurelien Domont" userId="6da7715ce44349b3" providerId="LiveId" clId="{1F031B4F-7A08-47B6-9BBE-3BE595172CA2}" dt="2023-02-14T06:24:21.546" v="484" actId="113"/>
          <ac:spMkLst>
            <pc:docMk/>
            <pc:sldMk cId="282272003" sldId="2705"/>
            <ac:spMk id="111" creationId="{82EC5D77-9F87-DCD8-8100-D54CD71C9A0C}"/>
          </ac:spMkLst>
        </pc:spChg>
      </pc:sldChg>
      <pc:sldChg chg="addSp modSp">
        <pc:chgData name="Aurelien Domont" userId="6da7715ce44349b3" providerId="LiveId" clId="{1F031B4F-7A08-47B6-9BBE-3BE595172CA2}" dt="2023-02-14T07:32:37.035" v="614"/>
        <pc:sldMkLst>
          <pc:docMk/>
          <pc:sldMk cId="3996143919" sldId="2707"/>
        </pc:sldMkLst>
        <pc:spChg chg="add mod">
          <ac:chgData name="Aurelien Domont" userId="6da7715ce44349b3" providerId="LiveId" clId="{1F031B4F-7A08-47B6-9BBE-3BE595172CA2}" dt="2023-02-14T07:32:37.035" v="614"/>
          <ac:spMkLst>
            <pc:docMk/>
            <pc:sldMk cId="3996143919" sldId="2707"/>
            <ac:spMk id="2" creationId="{EB1ECED2-AEBC-85D7-6CD7-03F480DC0324}"/>
          </ac:spMkLst>
        </pc:spChg>
      </pc:sldChg>
      <pc:sldChg chg="addSp modSp">
        <pc:chgData name="Aurelien Domont" userId="6da7715ce44349b3" providerId="LiveId" clId="{1F031B4F-7A08-47B6-9BBE-3BE595172CA2}" dt="2023-02-14T07:32:39.981" v="615"/>
        <pc:sldMkLst>
          <pc:docMk/>
          <pc:sldMk cId="3499380299" sldId="2708"/>
        </pc:sldMkLst>
        <pc:spChg chg="add mod">
          <ac:chgData name="Aurelien Domont" userId="6da7715ce44349b3" providerId="LiveId" clId="{1F031B4F-7A08-47B6-9BBE-3BE595172CA2}" dt="2023-02-14T07:32:39.981" v="615"/>
          <ac:spMkLst>
            <pc:docMk/>
            <pc:sldMk cId="3499380299" sldId="2708"/>
            <ac:spMk id="2" creationId="{F8D3E6FA-64BC-1E8F-D583-03218646C43E}"/>
          </ac:spMkLst>
        </pc:spChg>
      </pc:sldChg>
      <pc:sldChg chg="addSp delSp modSp mod">
        <pc:chgData name="Aurelien Domont" userId="6da7715ce44349b3" providerId="LiveId" clId="{1F031B4F-7A08-47B6-9BBE-3BE595172CA2}" dt="2023-02-14T07:32:49.833" v="618"/>
        <pc:sldMkLst>
          <pc:docMk/>
          <pc:sldMk cId="4176215261" sldId="2709"/>
        </pc:sldMkLst>
        <pc:spChg chg="add mod">
          <ac:chgData name="Aurelien Domont" userId="6da7715ce44349b3" providerId="LiveId" clId="{1F031B4F-7A08-47B6-9BBE-3BE595172CA2}" dt="2023-02-14T07:32:49.833" v="618"/>
          <ac:spMkLst>
            <pc:docMk/>
            <pc:sldMk cId="4176215261" sldId="2709"/>
            <ac:spMk id="2" creationId="{42DE1634-408B-0759-80D1-9F9E1DE5D0C3}"/>
          </ac:spMkLst>
        </pc:spChg>
        <pc:spChg chg="del">
          <ac:chgData name="Aurelien Domont" userId="6da7715ce44349b3" providerId="LiveId" clId="{1F031B4F-7A08-47B6-9BBE-3BE595172CA2}" dt="2023-02-14T07:32:49.484" v="617" actId="478"/>
          <ac:spMkLst>
            <pc:docMk/>
            <pc:sldMk cId="4176215261" sldId="2709"/>
            <ac:spMk id="3" creationId="{CE2529A3-BA97-486F-9E02-8DFAAA7D8D38}"/>
          </ac:spMkLst>
        </pc:spChg>
        <pc:spChg chg="del">
          <ac:chgData name="Aurelien Domont" userId="6da7715ce44349b3" providerId="LiveId" clId="{1F031B4F-7A08-47B6-9BBE-3BE595172CA2}" dt="2023-02-14T07:32:46.764" v="616" actId="478"/>
          <ac:spMkLst>
            <pc:docMk/>
            <pc:sldMk cId="4176215261" sldId="2709"/>
            <ac:spMk id="8" creationId="{A59D9EB3-E9B5-436C-B84C-64290C638E46}"/>
          </ac:spMkLst>
        </pc:spChg>
      </pc:sldChg>
      <pc:sldChg chg="addSp delSp modSp mod">
        <pc:chgData name="Aurelien Domont" userId="6da7715ce44349b3" providerId="LiveId" clId="{1F031B4F-7A08-47B6-9BBE-3BE595172CA2}" dt="2023-02-15T03:47:29.335" v="973"/>
        <pc:sldMkLst>
          <pc:docMk/>
          <pc:sldMk cId="2135764499" sldId="2713"/>
        </pc:sldMkLst>
        <pc:spChg chg="del">
          <ac:chgData name="Aurelien Domont" userId="6da7715ce44349b3" providerId="LiveId" clId="{1F031B4F-7A08-47B6-9BBE-3BE595172CA2}" dt="2023-02-15T03:47:28.824" v="972" actId="478"/>
          <ac:spMkLst>
            <pc:docMk/>
            <pc:sldMk cId="2135764499" sldId="2713"/>
            <ac:spMk id="3" creationId="{CE2529A3-BA97-486F-9E02-8DFAAA7D8D38}"/>
          </ac:spMkLst>
        </pc:spChg>
        <pc:spChg chg="add mod">
          <ac:chgData name="Aurelien Domont" userId="6da7715ce44349b3" providerId="LiveId" clId="{1F031B4F-7A08-47B6-9BBE-3BE595172CA2}" dt="2023-02-15T03:47:29.335" v="973"/>
          <ac:spMkLst>
            <pc:docMk/>
            <pc:sldMk cId="2135764499" sldId="2713"/>
            <ac:spMk id="5" creationId="{C31F5D5C-5475-661B-448D-59F8EEF18DCB}"/>
          </ac:spMkLst>
        </pc:spChg>
      </pc:sldChg>
      <pc:sldChg chg="addSp delSp modSp add del mod">
        <pc:chgData name="Aurelien Domont" userId="6da7715ce44349b3" providerId="LiveId" clId="{1F031B4F-7A08-47B6-9BBE-3BE595172CA2}" dt="2023-02-15T23:57:56.936" v="1527"/>
        <pc:sldMkLst>
          <pc:docMk/>
          <pc:sldMk cId="1573836939" sldId="2714"/>
        </pc:sldMkLst>
        <pc:spChg chg="add mod">
          <ac:chgData name="Aurelien Domont" userId="6da7715ce44349b3" providerId="LiveId" clId="{1F031B4F-7A08-47B6-9BBE-3BE595172CA2}" dt="2023-02-15T23:57:56.936" v="1527"/>
          <ac:spMkLst>
            <pc:docMk/>
            <pc:sldMk cId="1573836939" sldId="2714"/>
            <ac:spMk id="2" creationId="{EC26678B-2D31-D528-89A1-F381231F3247}"/>
          </ac:spMkLst>
        </pc:spChg>
        <pc:spChg chg="del">
          <ac:chgData name="Aurelien Domont" userId="6da7715ce44349b3" providerId="LiveId" clId="{1F031B4F-7A08-47B6-9BBE-3BE595172CA2}" dt="2023-02-15T23:57:56.677" v="1526" actId="478"/>
          <ac:spMkLst>
            <pc:docMk/>
            <pc:sldMk cId="1573836939" sldId="2714"/>
            <ac:spMk id="3" creationId="{CE2529A3-BA97-486F-9E02-8DFAAA7D8D38}"/>
          </ac:spMkLst>
        </pc:spChg>
        <pc:spChg chg="mod">
          <ac:chgData name="Aurelien Domont" userId="6da7715ce44349b3" providerId="LiveId" clId="{1F031B4F-7A08-47B6-9BBE-3BE595172CA2}" dt="2023-02-15T23:57:01.530" v="1519" actId="14100"/>
          <ac:spMkLst>
            <pc:docMk/>
            <pc:sldMk cId="1573836939" sldId="2714"/>
            <ac:spMk id="5" creationId="{F232B936-E17D-04E4-26FC-01EC4EE603D1}"/>
          </ac:spMkLst>
        </pc:spChg>
        <pc:spChg chg="del">
          <ac:chgData name="Aurelien Domont" userId="6da7715ce44349b3" providerId="LiveId" clId="{1F031B4F-7A08-47B6-9BBE-3BE595172CA2}" dt="2023-02-15T23:56:40.580" v="1514" actId="478"/>
          <ac:spMkLst>
            <pc:docMk/>
            <pc:sldMk cId="1573836939" sldId="2714"/>
            <ac:spMk id="7" creationId="{403A8A29-9476-22BB-178D-9E13D8B502E1}"/>
          </ac:spMkLst>
        </pc:spChg>
        <pc:spChg chg="del">
          <ac:chgData name="Aurelien Domont" userId="6da7715ce44349b3" providerId="LiveId" clId="{1F031B4F-7A08-47B6-9BBE-3BE595172CA2}" dt="2023-02-15T23:56:47.265" v="1516" actId="478"/>
          <ac:spMkLst>
            <pc:docMk/>
            <pc:sldMk cId="1573836939" sldId="2714"/>
            <ac:spMk id="8" creationId="{45019213-D1BE-107E-2F5F-9B4585FDEEB0}"/>
          </ac:spMkLst>
        </pc:spChg>
        <pc:spChg chg="del">
          <ac:chgData name="Aurelien Domont" userId="6da7715ce44349b3" providerId="LiveId" clId="{1F031B4F-7A08-47B6-9BBE-3BE595172CA2}" dt="2023-02-15T23:56:40.580" v="1514" actId="478"/>
          <ac:spMkLst>
            <pc:docMk/>
            <pc:sldMk cId="1573836939" sldId="2714"/>
            <ac:spMk id="10" creationId="{BD32D625-76AC-03ED-AEF1-F443696032C5}"/>
          </ac:spMkLst>
        </pc:spChg>
        <pc:spChg chg="mod">
          <ac:chgData name="Aurelien Domont" userId="6da7715ce44349b3" providerId="LiveId" clId="{1F031B4F-7A08-47B6-9BBE-3BE595172CA2}" dt="2023-02-15T23:55:58.880" v="1459" actId="20577"/>
          <ac:spMkLst>
            <pc:docMk/>
            <pc:sldMk cId="1573836939" sldId="2714"/>
            <ac:spMk id="16" creationId="{6C2BB713-9637-4B9B-938F-E9768876782A}"/>
          </ac:spMkLst>
        </pc:spChg>
        <pc:grpChg chg="del">
          <ac:chgData name="Aurelien Domont" userId="6da7715ce44349b3" providerId="LiveId" clId="{1F031B4F-7A08-47B6-9BBE-3BE595172CA2}" dt="2023-02-15T23:56:40.580" v="1514" actId="478"/>
          <ac:grpSpMkLst>
            <pc:docMk/>
            <pc:sldMk cId="1573836939" sldId="2714"/>
            <ac:grpSpMk id="19" creationId="{85468F65-C184-8A3A-0CDD-6F0541764740}"/>
          </ac:grpSpMkLst>
        </pc:grpChg>
      </pc:sldChg>
      <pc:sldChg chg="addSp delSp modSp mod">
        <pc:chgData name="Aurelien Domont" userId="6da7715ce44349b3" providerId="LiveId" clId="{1F031B4F-7A08-47B6-9BBE-3BE595172CA2}" dt="2023-02-15T03:44:28.789" v="971"/>
        <pc:sldMkLst>
          <pc:docMk/>
          <pc:sldMk cId="3390275683" sldId="2715"/>
        </pc:sldMkLst>
        <pc:spChg chg="add mod">
          <ac:chgData name="Aurelien Domont" userId="6da7715ce44349b3" providerId="LiveId" clId="{1F031B4F-7A08-47B6-9BBE-3BE595172CA2}" dt="2023-02-15T03:44:28.789" v="971"/>
          <ac:spMkLst>
            <pc:docMk/>
            <pc:sldMk cId="3390275683" sldId="2715"/>
            <ac:spMk id="2" creationId="{ACB885ED-7D41-D1FD-AF51-F1BCAC4C0AE6}"/>
          </ac:spMkLst>
        </pc:spChg>
        <pc:spChg chg="del">
          <ac:chgData name="Aurelien Domont" userId="6da7715ce44349b3" providerId="LiveId" clId="{1F031B4F-7A08-47B6-9BBE-3BE595172CA2}" dt="2023-02-15T03:44:28.587" v="970" actId="478"/>
          <ac:spMkLst>
            <pc:docMk/>
            <pc:sldMk cId="3390275683" sldId="2715"/>
            <ac:spMk id="3" creationId="{CE2529A3-BA97-486F-9E02-8DFAAA7D8D38}"/>
          </ac:spMkLst>
        </pc:spChg>
        <pc:spChg chg="mod">
          <ac:chgData name="Aurelien Domont" userId="6da7715ce44349b3" providerId="LiveId" clId="{1F031B4F-7A08-47B6-9BBE-3BE595172CA2}" dt="2023-02-15T03:44:14.606" v="969" actId="179"/>
          <ac:spMkLst>
            <pc:docMk/>
            <pc:sldMk cId="3390275683" sldId="2715"/>
            <ac:spMk id="9" creationId="{264AD83F-2678-C45A-8A97-0D84D5BCC0DF}"/>
          </ac:spMkLst>
        </pc:spChg>
      </pc:sldChg>
      <pc:sldChg chg="addSp delSp modSp mod">
        <pc:chgData name="Aurelien Domont" userId="6da7715ce44349b3" providerId="LiveId" clId="{1F031B4F-7A08-47B6-9BBE-3BE595172CA2}" dt="2023-02-15T03:53:16.903" v="979"/>
        <pc:sldMkLst>
          <pc:docMk/>
          <pc:sldMk cId="717409554" sldId="2719"/>
        </pc:sldMkLst>
        <pc:spChg chg="add mod">
          <ac:chgData name="Aurelien Domont" userId="6da7715ce44349b3" providerId="LiveId" clId="{1F031B4F-7A08-47B6-9BBE-3BE595172CA2}" dt="2023-02-15T03:53:16.903" v="979"/>
          <ac:spMkLst>
            <pc:docMk/>
            <pc:sldMk cId="717409554" sldId="2719"/>
            <ac:spMk id="2" creationId="{012EE7C8-9118-979C-3EC7-C247A8805C1F}"/>
          </ac:spMkLst>
        </pc:spChg>
        <pc:spChg chg="del">
          <ac:chgData name="Aurelien Domont" userId="6da7715ce44349b3" providerId="LiveId" clId="{1F031B4F-7A08-47B6-9BBE-3BE595172CA2}" dt="2023-02-15T03:53:16.634" v="978" actId="478"/>
          <ac:spMkLst>
            <pc:docMk/>
            <pc:sldMk cId="717409554" sldId="2719"/>
            <ac:spMk id="3" creationId="{CE2529A3-BA97-486F-9E02-8DFAAA7D8D38}"/>
          </ac:spMkLst>
        </pc:spChg>
        <pc:spChg chg="mod">
          <ac:chgData name="Aurelien Domont" userId="6da7715ce44349b3" providerId="LiveId" clId="{1F031B4F-7A08-47B6-9BBE-3BE595172CA2}" dt="2023-02-15T03:49:52.996" v="974" actId="179"/>
          <ac:spMkLst>
            <pc:docMk/>
            <pc:sldMk cId="717409554" sldId="2719"/>
            <ac:spMk id="9" creationId="{264AD83F-2678-C45A-8A97-0D84D5BCC0DF}"/>
          </ac:spMkLst>
        </pc:spChg>
      </pc:sldChg>
      <pc:sldChg chg="addSp delSp modSp mod">
        <pc:chgData name="Aurelien Domont" userId="6da7715ce44349b3" providerId="LiveId" clId="{1F031B4F-7A08-47B6-9BBE-3BE595172CA2}" dt="2023-02-15T03:53:20.429" v="981"/>
        <pc:sldMkLst>
          <pc:docMk/>
          <pc:sldMk cId="2252086513" sldId="2720"/>
        </pc:sldMkLst>
        <pc:spChg chg="add del mod">
          <ac:chgData name="Aurelien Domont" userId="6da7715ce44349b3" providerId="LiveId" clId="{1F031B4F-7A08-47B6-9BBE-3BE595172CA2}" dt="2023-02-15T03:52:58.076" v="977" actId="478"/>
          <ac:spMkLst>
            <pc:docMk/>
            <pc:sldMk cId="2252086513" sldId="2720"/>
            <ac:spMk id="2" creationId="{98D3B7DB-CFC3-25B4-77F4-C5DB60259368}"/>
          </ac:spMkLst>
        </pc:spChg>
        <pc:spChg chg="del">
          <ac:chgData name="Aurelien Domont" userId="6da7715ce44349b3" providerId="LiveId" clId="{1F031B4F-7A08-47B6-9BBE-3BE595172CA2}" dt="2023-02-15T03:53:20.329" v="980" actId="478"/>
          <ac:spMkLst>
            <pc:docMk/>
            <pc:sldMk cId="2252086513" sldId="2720"/>
            <ac:spMk id="3" creationId="{CE2529A3-BA97-486F-9E02-8DFAAA7D8D38}"/>
          </ac:spMkLst>
        </pc:spChg>
        <pc:spChg chg="add mod">
          <ac:chgData name="Aurelien Domont" userId="6da7715ce44349b3" providerId="LiveId" clId="{1F031B4F-7A08-47B6-9BBE-3BE595172CA2}" dt="2023-02-15T03:53:20.429" v="981"/>
          <ac:spMkLst>
            <pc:docMk/>
            <pc:sldMk cId="2252086513" sldId="2720"/>
            <ac:spMk id="4" creationId="{67F2C77C-95CA-95AB-410A-A79E1C7A2476}"/>
          </ac:spMkLst>
        </pc:spChg>
        <pc:spChg chg="mod">
          <ac:chgData name="Aurelien Domont" userId="6da7715ce44349b3" providerId="LiveId" clId="{1F031B4F-7A08-47B6-9BBE-3BE595172CA2}" dt="2023-02-14T07:08:02.870" v="493" actId="313"/>
          <ac:spMkLst>
            <pc:docMk/>
            <pc:sldMk cId="2252086513" sldId="2720"/>
            <ac:spMk id="9" creationId="{264AD83F-2678-C45A-8A97-0D84D5BCC0DF}"/>
          </ac:spMkLst>
        </pc:spChg>
      </pc:sldChg>
      <pc:sldChg chg="addSp delSp modSp mod">
        <pc:chgData name="Aurelien Domont" userId="6da7715ce44349b3" providerId="LiveId" clId="{1F031B4F-7A08-47B6-9BBE-3BE595172CA2}" dt="2023-02-15T03:53:23.812" v="983"/>
        <pc:sldMkLst>
          <pc:docMk/>
          <pc:sldMk cId="2453546627" sldId="2721"/>
        </pc:sldMkLst>
        <pc:spChg chg="del">
          <ac:chgData name="Aurelien Domont" userId="6da7715ce44349b3" providerId="LiveId" clId="{1F031B4F-7A08-47B6-9BBE-3BE595172CA2}" dt="2023-02-15T03:53:23.748" v="982" actId="478"/>
          <ac:spMkLst>
            <pc:docMk/>
            <pc:sldMk cId="2453546627" sldId="2721"/>
            <ac:spMk id="3" creationId="{CE2529A3-BA97-486F-9E02-8DFAAA7D8D38}"/>
          </ac:spMkLst>
        </pc:spChg>
        <pc:spChg chg="add mod">
          <ac:chgData name="Aurelien Domont" userId="6da7715ce44349b3" providerId="LiveId" clId="{1F031B4F-7A08-47B6-9BBE-3BE595172CA2}" dt="2023-02-15T03:53:23.812" v="983"/>
          <ac:spMkLst>
            <pc:docMk/>
            <pc:sldMk cId="2453546627" sldId="2721"/>
            <ac:spMk id="6" creationId="{69FE31A5-F15A-B9F6-C36C-A60F35466EAF}"/>
          </ac:spMkLst>
        </pc:spChg>
      </pc:sldChg>
      <pc:sldChg chg="del">
        <pc:chgData name="Aurelien Domont" userId="6da7715ce44349b3" providerId="LiveId" clId="{1F031B4F-7A08-47B6-9BBE-3BE595172CA2}" dt="2023-02-15T23:34:19.892" v="1187" actId="47"/>
        <pc:sldMkLst>
          <pc:docMk/>
          <pc:sldMk cId="1013089024" sldId="2723"/>
        </pc:sldMkLst>
      </pc:sldChg>
      <pc:sldChg chg="del">
        <pc:chgData name="Aurelien Domont" userId="6da7715ce44349b3" providerId="LiveId" clId="{1F031B4F-7A08-47B6-9BBE-3BE595172CA2}" dt="2023-02-15T23:34:33.613" v="1191" actId="47"/>
        <pc:sldMkLst>
          <pc:docMk/>
          <pc:sldMk cId="1761575136" sldId="2724"/>
        </pc:sldMkLst>
      </pc:sldChg>
      <pc:sldChg chg="del">
        <pc:chgData name="Aurelien Domont" userId="6da7715ce44349b3" providerId="LiveId" clId="{1F031B4F-7A08-47B6-9BBE-3BE595172CA2}" dt="2023-02-15T23:34:37.623" v="1193" actId="47"/>
        <pc:sldMkLst>
          <pc:docMk/>
          <pc:sldMk cId="1092208092" sldId="2725"/>
        </pc:sldMkLst>
      </pc:sldChg>
      <pc:sldChg chg="del">
        <pc:chgData name="Aurelien Domont" userId="6da7715ce44349b3" providerId="LiveId" clId="{1F031B4F-7A08-47B6-9BBE-3BE595172CA2}" dt="2023-02-15T23:34:41.064" v="1195" actId="47"/>
        <pc:sldMkLst>
          <pc:docMk/>
          <pc:sldMk cId="2279388699" sldId="2726"/>
        </pc:sldMkLst>
      </pc:sldChg>
      <pc:sldChg chg="del">
        <pc:chgData name="Aurelien Domont" userId="6da7715ce44349b3" providerId="LiveId" clId="{1F031B4F-7A08-47B6-9BBE-3BE595172CA2}" dt="2023-02-15T23:34:44.861" v="1197" actId="47"/>
        <pc:sldMkLst>
          <pc:docMk/>
          <pc:sldMk cId="950853950" sldId="2727"/>
        </pc:sldMkLst>
      </pc:sldChg>
      <pc:sldChg chg="addSp delSp modSp del mod">
        <pc:chgData name="Aurelien Domont" userId="6da7715ce44349b3" providerId="LiveId" clId="{1F031B4F-7A08-47B6-9BBE-3BE595172CA2}" dt="2023-02-15T23:34:49.415" v="1199" actId="47"/>
        <pc:sldMkLst>
          <pc:docMk/>
          <pc:sldMk cId="486720073" sldId="2728"/>
        </pc:sldMkLst>
        <pc:spChg chg="add del mod">
          <ac:chgData name="Aurelien Domont" userId="6da7715ce44349b3" providerId="LiveId" clId="{1F031B4F-7A08-47B6-9BBE-3BE595172CA2}" dt="2023-02-15T05:29:54.522" v="1009" actId="478"/>
          <ac:spMkLst>
            <pc:docMk/>
            <pc:sldMk cId="486720073" sldId="2728"/>
            <ac:spMk id="6" creationId="{A960E174-6536-6038-1A8C-2A75C9087F35}"/>
          </ac:spMkLst>
        </pc:spChg>
      </pc:sldChg>
      <pc:sldChg chg="del">
        <pc:chgData name="Aurelien Domont" userId="6da7715ce44349b3" providerId="LiveId" clId="{1F031B4F-7A08-47B6-9BBE-3BE595172CA2}" dt="2023-02-15T23:34:52.861" v="1201" actId="47"/>
        <pc:sldMkLst>
          <pc:docMk/>
          <pc:sldMk cId="2669325020" sldId="2729"/>
        </pc:sldMkLst>
      </pc:sldChg>
      <pc:sldChg chg="del">
        <pc:chgData name="Aurelien Domont" userId="6da7715ce44349b3" providerId="LiveId" clId="{1F031B4F-7A08-47B6-9BBE-3BE595172CA2}" dt="2023-02-15T23:34:55.771" v="1203" actId="47"/>
        <pc:sldMkLst>
          <pc:docMk/>
          <pc:sldMk cId="1184053214" sldId="2730"/>
        </pc:sldMkLst>
      </pc:sldChg>
      <pc:sldChg chg="del">
        <pc:chgData name="Aurelien Domont" userId="6da7715ce44349b3" providerId="LiveId" clId="{1F031B4F-7A08-47B6-9BBE-3BE595172CA2}" dt="2023-02-15T23:35:00.972" v="1205" actId="47"/>
        <pc:sldMkLst>
          <pc:docMk/>
          <pc:sldMk cId="167756577" sldId="2731"/>
        </pc:sldMkLst>
      </pc:sldChg>
      <pc:sldChg chg="del">
        <pc:chgData name="Aurelien Domont" userId="6da7715ce44349b3" providerId="LiveId" clId="{1F031B4F-7A08-47B6-9BBE-3BE595172CA2}" dt="2023-02-15T23:35:08.236" v="1207" actId="47"/>
        <pc:sldMkLst>
          <pc:docMk/>
          <pc:sldMk cId="107333924" sldId="2732"/>
        </pc:sldMkLst>
      </pc:sldChg>
      <pc:sldChg chg="del">
        <pc:chgData name="Aurelien Domont" userId="6da7715ce44349b3" providerId="LiveId" clId="{1F031B4F-7A08-47B6-9BBE-3BE595172CA2}" dt="2023-02-15T23:35:11.741" v="1209" actId="47"/>
        <pc:sldMkLst>
          <pc:docMk/>
          <pc:sldMk cId="3299315611" sldId="2733"/>
        </pc:sldMkLst>
      </pc:sldChg>
      <pc:sldChg chg="delSp add del mod">
        <pc:chgData name="Aurelien Domont" userId="6da7715ce44349b3" providerId="LiveId" clId="{1F031B4F-7A08-47B6-9BBE-3BE595172CA2}" dt="2023-02-15T23:58:15.871" v="1531" actId="478"/>
        <pc:sldMkLst>
          <pc:docMk/>
          <pc:sldMk cId="1437605306" sldId="2734"/>
        </pc:sldMkLst>
        <pc:spChg chg="del">
          <ac:chgData name="Aurelien Domont" userId="6da7715ce44349b3" providerId="LiveId" clId="{1F031B4F-7A08-47B6-9BBE-3BE595172CA2}" dt="2023-02-15T23:58:15.871" v="1531" actId="478"/>
          <ac:spMkLst>
            <pc:docMk/>
            <pc:sldMk cId="1437605306" sldId="2734"/>
            <ac:spMk id="8" creationId="{A59D9EB3-E9B5-436C-B84C-64290C638E46}"/>
          </ac:spMkLst>
        </pc:spChg>
      </pc:sldChg>
      <pc:sldChg chg="modSp mod">
        <pc:chgData name="Aurelien Domont" userId="6da7715ce44349b3" providerId="LiveId" clId="{1F031B4F-7A08-47B6-9BBE-3BE595172CA2}" dt="2023-02-15T04:20:55.774" v="1002" actId="179"/>
        <pc:sldMkLst>
          <pc:docMk/>
          <pc:sldMk cId="3405486540" sldId="2735"/>
        </pc:sldMkLst>
        <pc:spChg chg="mod">
          <ac:chgData name="Aurelien Domont" userId="6da7715ce44349b3" providerId="LiveId" clId="{1F031B4F-7A08-47B6-9BBE-3BE595172CA2}" dt="2023-02-15T04:20:55.774" v="1002" actId="179"/>
          <ac:spMkLst>
            <pc:docMk/>
            <pc:sldMk cId="3405486540" sldId="2735"/>
            <ac:spMk id="4" creationId="{471FDD12-2524-D2C4-61FC-BBD6D7EE5522}"/>
          </ac:spMkLst>
        </pc:spChg>
      </pc:sldChg>
      <pc:sldChg chg="addSp delSp modSp add del mod">
        <pc:chgData name="Aurelien Domont" userId="6da7715ce44349b3" providerId="LiveId" clId="{1F031B4F-7A08-47B6-9BBE-3BE595172CA2}" dt="2023-02-16T02:10:41.131" v="2800" actId="47"/>
        <pc:sldMkLst>
          <pc:docMk/>
          <pc:sldMk cId="2011477896" sldId="2741"/>
        </pc:sldMkLst>
        <pc:spChg chg="add mod">
          <ac:chgData name="Aurelien Domont" userId="6da7715ce44349b3" providerId="LiveId" clId="{1F031B4F-7A08-47B6-9BBE-3BE595172CA2}" dt="2023-02-15T23:30:53.623" v="1128" actId="207"/>
          <ac:spMkLst>
            <pc:docMk/>
            <pc:sldMk cId="2011477896" sldId="2741"/>
            <ac:spMk id="2" creationId="{9FE70D06-3043-11B6-024A-E82227EDEE0C}"/>
          </ac:spMkLst>
        </pc:spChg>
        <pc:spChg chg="del">
          <ac:chgData name="Aurelien Domont" userId="6da7715ce44349b3" providerId="LiveId" clId="{1F031B4F-7A08-47B6-9BBE-3BE595172CA2}" dt="2023-02-15T23:30:42.533" v="1126" actId="478"/>
          <ac:spMkLst>
            <pc:docMk/>
            <pc:sldMk cId="2011477896" sldId="2741"/>
            <ac:spMk id="4" creationId="{DFDABEBC-4CDA-DE67-F7EF-3C9B292D3796}"/>
          </ac:spMkLst>
        </pc:spChg>
        <pc:spChg chg="add mod">
          <ac:chgData name="Aurelien Domont" userId="6da7715ce44349b3" providerId="LiveId" clId="{1F031B4F-7A08-47B6-9BBE-3BE595172CA2}" dt="2023-02-15T23:30:48.936" v="1127"/>
          <ac:spMkLst>
            <pc:docMk/>
            <pc:sldMk cId="2011477896" sldId="2741"/>
            <ac:spMk id="6" creationId="{F8A602DB-BAB2-E8C9-02B4-82814AE42E5B}"/>
          </ac:spMkLst>
        </pc:spChg>
        <pc:spChg chg="del mod">
          <ac:chgData name="Aurelien Domont" userId="6da7715ce44349b3" providerId="LiveId" clId="{1F031B4F-7A08-47B6-9BBE-3BE595172CA2}" dt="2023-02-15T23:30:42.533" v="1126" actId="478"/>
          <ac:spMkLst>
            <pc:docMk/>
            <pc:sldMk cId="2011477896" sldId="2741"/>
            <ac:spMk id="8" creationId="{72A52A59-2B0C-B438-B79F-EAD1EBFD5A88}"/>
          </ac:spMkLst>
        </pc:spChg>
        <pc:spChg chg="del">
          <ac:chgData name="Aurelien Domont" userId="6da7715ce44349b3" providerId="LiveId" clId="{1F031B4F-7A08-47B6-9BBE-3BE595172CA2}" dt="2023-02-15T23:30:42.533" v="1126" actId="478"/>
          <ac:spMkLst>
            <pc:docMk/>
            <pc:sldMk cId="2011477896" sldId="2741"/>
            <ac:spMk id="9" creationId="{0F4B39A0-2803-47D9-93AE-F99798C91F06}"/>
          </ac:spMkLst>
        </pc:spChg>
        <pc:spChg chg="del">
          <ac:chgData name="Aurelien Domont" userId="6da7715ce44349b3" providerId="LiveId" clId="{1F031B4F-7A08-47B6-9BBE-3BE595172CA2}" dt="2023-02-15T23:30:42.533" v="1126" actId="478"/>
          <ac:spMkLst>
            <pc:docMk/>
            <pc:sldMk cId="2011477896" sldId="2741"/>
            <ac:spMk id="10" creationId="{52524284-CA7D-416E-ADDB-CAB7040B62C4}"/>
          </ac:spMkLst>
        </pc:spChg>
        <pc:spChg chg="del">
          <ac:chgData name="Aurelien Domont" userId="6da7715ce44349b3" providerId="LiveId" clId="{1F031B4F-7A08-47B6-9BBE-3BE595172CA2}" dt="2023-02-15T23:30:42.533" v="1126" actId="478"/>
          <ac:spMkLst>
            <pc:docMk/>
            <pc:sldMk cId="2011477896" sldId="2741"/>
            <ac:spMk id="11" creationId="{DCA1B29F-4AB2-4DAE-B498-BC74026B1DDA}"/>
          </ac:spMkLst>
        </pc:spChg>
        <pc:spChg chg="del">
          <ac:chgData name="Aurelien Domont" userId="6da7715ce44349b3" providerId="LiveId" clId="{1F031B4F-7A08-47B6-9BBE-3BE595172CA2}" dt="2023-02-15T23:30:42.533" v="1126" actId="478"/>
          <ac:spMkLst>
            <pc:docMk/>
            <pc:sldMk cId="2011477896" sldId="2741"/>
            <ac:spMk id="12" creationId="{B9BBA604-AEF4-4807-AD42-75399F0043F4}"/>
          </ac:spMkLst>
        </pc:spChg>
        <pc:spChg chg="del mod">
          <ac:chgData name="Aurelien Domont" userId="6da7715ce44349b3" providerId="LiveId" clId="{1F031B4F-7A08-47B6-9BBE-3BE595172CA2}" dt="2023-02-15T23:30:42.533" v="1126" actId="478"/>
          <ac:spMkLst>
            <pc:docMk/>
            <pc:sldMk cId="2011477896" sldId="2741"/>
            <ac:spMk id="14" creationId="{85DB7984-08ED-9AB7-9778-BAC9EF667E17}"/>
          </ac:spMkLst>
        </pc:spChg>
        <pc:spChg chg="add mod">
          <ac:chgData name="Aurelien Domont" userId="6da7715ce44349b3" providerId="LiveId" clId="{1F031B4F-7A08-47B6-9BBE-3BE595172CA2}" dt="2023-02-15T23:30:48.936" v="1127"/>
          <ac:spMkLst>
            <pc:docMk/>
            <pc:sldMk cId="2011477896" sldId="2741"/>
            <ac:spMk id="17" creationId="{52ACDC82-8691-5BDB-91D6-DE921087B8D4}"/>
          </ac:spMkLst>
        </pc:spChg>
        <pc:spChg chg="add mod">
          <ac:chgData name="Aurelien Domont" userId="6da7715ce44349b3" providerId="LiveId" clId="{1F031B4F-7A08-47B6-9BBE-3BE595172CA2}" dt="2023-02-15T23:30:48.936" v="1127"/>
          <ac:spMkLst>
            <pc:docMk/>
            <pc:sldMk cId="2011477896" sldId="2741"/>
            <ac:spMk id="18" creationId="{77FD2EF3-83A4-B211-3969-A40207A61CA0}"/>
          </ac:spMkLst>
        </pc:spChg>
        <pc:spChg chg="add mod">
          <ac:chgData name="Aurelien Domont" userId="6da7715ce44349b3" providerId="LiveId" clId="{1F031B4F-7A08-47B6-9BBE-3BE595172CA2}" dt="2023-02-15T23:30:48.936" v="1127"/>
          <ac:spMkLst>
            <pc:docMk/>
            <pc:sldMk cId="2011477896" sldId="2741"/>
            <ac:spMk id="19" creationId="{4A4A1D3E-4695-21AD-71CE-C8D72A04A56D}"/>
          </ac:spMkLst>
        </pc:spChg>
        <pc:spChg chg="del mod">
          <ac:chgData name="Aurelien Domont" userId="6da7715ce44349b3" providerId="LiveId" clId="{1F031B4F-7A08-47B6-9BBE-3BE595172CA2}" dt="2023-02-15T23:30:42.533" v="1126" actId="478"/>
          <ac:spMkLst>
            <pc:docMk/>
            <pc:sldMk cId="2011477896" sldId="2741"/>
            <ac:spMk id="21" creationId="{65195D31-8CD1-9CAD-EDAB-5DC5BCEFF793}"/>
          </ac:spMkLst>
        </pc:spChg>
        <pc:spChg chg="del">
          <ac:chgData name="Aurelien Domont" userId="6da7715ce44349b3" providerId="LiveId" clId="{1F031B4F-7A08-47B6-9BBE-3BE595172CA2}" dt="2023-02-15T23:30:42.533" v="1126" actId="478"/>
          <ac:spMkLst>
            <pc:docMk/>
            <pc:sldMk cId="2011477896" sldId="2741"/>
            <ac:spMk id="22" creationId="{8664D20B-2002-4C9F-A94C-AB6D33819DF8}"/>
          </ac:spMkLst>
        </pc:spChg>
        <pc:spChg chg="del mod">
          <ac:chgData name="Aurelien Domont" userId="6da7715ce44349b3" providerId="LiveId" clId="{1F031B4F-7A08-47B6-9BBE-3BE595172CA2}" dt="2023-02-15T23:30:42.533" v="1126" actId="478"/>
          <ac:spMkLst>
            <pc:docMk/>
            <pc:sldMk cId="2011477896" sldId="2741"/>
            <ac:spMk id="26" creationId="{60AA3177-69A2-8959-DB8F-FDAAC70C5894}"/>
          </ac:spMkLst>
        </pc:spChg>
        <pc:spChg chg="del">
          <ac:chgData name="Aurelien Domont" userId="6da7715ce44349b3" providerId="LiveId" clId="{1F031B4F-7A08-47B6-9BBE-3BE595172CA2}" dt="2023-02-15T23:30:42.533" v="1126" actId="478"/>
          <ac:spMkLst>
            <pc:docMk/>
            <pc:sldMk cId="2011477896" sldId="2741"/>
            <ac:spMk id="27" creationId="{54BC1734-C961-49B3-BBCE-81BBEF3EFD1B}"/>
          </ac:spMkLst>
        </pc:spChg>
        <pc:spChg chg="del mod">
          <ac:chgData name="Aurelien Domont" userId="6da7715ce44349b3" providerId="LiveId" clId="{1F031B4F-7A08-47B6-9BBE-3BE595172CA2}" dt="2023-02-15T23:30:42.533" v="1126" actId="478"/>
          <ac:spMkLst>
            <pc:docMk/>
            <pc:sldMk cId="2011477896" sldId="2741"/>
            <ac:spMk id="29" creationId="{8F984EF8-19B2-4B5E-98EC-433CCE26E2A7}"/>
          </ac:spMkLst>
        </pc:spChg>
        <pc:spChg chg="del">
          <ac:chgData name="Aurelien Domont" userId="6da7715ce44349b3" providerId="LiveId" clId="{1F031B4F-7A08-47B6-9BBE-3BE595172CA2}" dt="2023-02-15T23:30:42.533" v="1126" actId="478"/>
          <ac:spMkLst>
            <pc:docMk/>
            <pc:sldMk cId="2011477896" sldId="2741"/>
            <ac:spMk id="31" creationId="{1C1B78F5-CE09-4A06-8F1D-30227B5D6E15}"/>
          </ac:spMkLst>
        </pc:spChg>
        <pc:spChg chg="del">
          <ac:chgData name="Aurelien Domont" userId="6da7715ce44349b3" providerId="LiveId" clId="{1F031B4F-7A08-47B6-9BBE-3BE595172CA2}" dt="2023-02-15T23:30:42.533" v="1126" actId="478"/>
          <ac:spMkLst>
            <pc:docMk/>
            <pc:sldMk cId="2011477896" sldId="2741"/>
            <ac:spMk id="32" creationId="{3BEF6079-F38C-4B82-B044-53A13155F334}"/>
          </ac:spMkLst>
        </pc:spChg>
        <pc:spChg chg="del">
          <ac:chgData name="Aurelien Domont" userId="6da7715ce44349b3" providerId="LiveId" clId="{1F031B4F-7A08-47B6-9BBE-3BE595172CA2}" dt="2023-02-15T23:30:42.533" v="1126" actId="478"/>
          <ac:spMkLst>
            <pc:docMk/>
            <pc:sldMk cId="2011477896" sldId="2741"/>
            <ac:spMk id="33" creationId="{8260BE05-FEA7-4631-88CD-752AC5C966BA}"/>
          </ac:spMkLst>
        </pc:spChg>
        <pc:spChg chg="del">
          <ac:chgData name="Aurelien Domont" userId="6da7715ce44349b3" providerId="LiveId" clId="{1F031B4F-7A08-47B6-9BBE-3BE595172CA2}" dt="2023-02-15T23:30:42.533" v="1126" actId="478"/>
          <ac:spMkLst>
            <pc:docMk/>
            <pc:sldMk cId="2011477896" sldId="2741"/>
            <ac:spMk id="34" creationId="{473B4042-51F1-41BD-8EDF-E03E66716A5A}"/>
          </ac:spMkLst>
        </pc:spChg>
        <pc:spChg chg="del">
          <ac:chgData name="Aurelien Domont" userId="6da7715ce44349b3" providerId="LiveId" clId="{1F031B4F-7A08-47B6-9BBE-3BE595172CA2}" dt="2023-02-15T23:30:42.533" v="1126" actId="478"/>
          <ac:spMkLst>
            <pc:docMk/>
            <pc:sldMk cId="2011477896" sldId="2741"/>
            <ac:spMk id="35" creationId="{64C38490-8643-4DBA-8D8B-54C587ECA10D}"/>
          </ac:spMkLst>
        </pc:spChg>
        <pc:spChg chg="add mod">
          <ac:chgData name="Aurelien Domont" userId="6da7715ce44349b3" providerId="LiveId" clId="{1F031B4F-7A08-47B6-9BBE-3BE595172CA2}" dt="2023-02-15T23:30:56.035" v="1129" actId="207"/>
          <ac:spMkLst>
            <pc:docMk/>
            <pc:sldMk cId="2011477896" sldId="2741"/>
            <ac:spMk id="38" creationId="{B6959F9D-CC40-4BE0-8CFA-346DC041EA6E}"/>
          </ac:spMkLst>
        </pc:spChg>
        <pc:spChg chg="add mod">
          <ac:chgData name="Aurelien Domont" userId="6da7715ce44349b3" providerId="LiveId" clId="{1F031B4F-7A08-47B6-9BBE-3BE595172CA2}" dt="2023-02-15T23:30:48.936" v="1127"/>
          <ac:spMkLst>
            <pc:docMk/>
            <pc:sldMk cId="2011477896" sldId="2741"/>
            <ac:spMk id="39" creationId="{D9C5E114-34CC-B4EB-96E4-30F57CC550BC}"/>
          </ac:spMkLst>
        </pc:spChg>
        <pc:spChg chg="add mod">
          <ac:chgData name="Aurelien Domont" userId="6da7715ce44349b3" providerId="LiveId" clId="{1F031B4F-7A08-47B6-9BBE-3BE595172CA2}" dt="2023-02-15T23:30:48.936" v="1127"/>
          <ac:spMkLst>
            <pc:docMk/>
            <pc:sldMk cId="2011477896" sldId="2741"/>
            <ac:spMk id="40" creationId="{4F493C7D-651D-3A2C-F910-4D5DEB6ECB2F}"/>
          </ac:spMkLst>
        </pc:spChg>
        <pc:spChg chg="add mod">
          <ac:chgData name="Aurelien Domont" userId="6da7715ce44349b3" providerId="LiveId" clId="{1F031B4F-7A08-47B6-9BBE-3BE595172CA2}" dt="2023-02-15T23:30:48.936" v="1127"/>
          <ac:spMkLst>
            <pc:docMk/>
            <pc:sldMk cId="2011477896" sldId="2741"/>
            <ac:spMk id="41" creationId="{C9FF966C-11ED-89AB-C9F6-7EB22196A49D}"/>
          </ac:spMkLst>
        </pc:spChg>
        <pc:spChg chg="add mod">
          <ac:chgData name="Aurelien Domont" userId="6da7715ce44349b3" providerId="LiveId" clId="{1F031B4F-7A08-47B6-9BBE-3BE595172CA2}" dt="2023-02-15T23:30:48.936" v="1127"/>
          <ac:spMkLst>
            <pc:docMk/>
            <pc:sldMk cId="2011477896" sldId="2741"/>
            <ac:spMk id="42" creationId="{30AF03A0-57E0-FFAC-BF34-D34C5609D831}"/>
          </ac:spMkLst>
        </pc:spChg>
        <pc:spChg chg="add mod">
          <ac:chgData name="Aurelien Domont" userId="6da7715ce44349b3" providerId="LiveId" clId="{1F031B4F-7A08-47B6-9BBE-3BE595172CA2}" dt="2023-02-15T23:30:48.936" v="1127"/>
          <ac:spMkLst>
            <pc:docMk/>
            <pc:sldMk cId="2011477896" sldId="2741"/>
            <ac:spMk id="43" creationId="{094F78F0-AEA8-5E0A-48F8-FDBE74DD7A34}"/>
          </ac:spMkLst>
        </pc:spChg>
        <pc:spChg chg="add mod">
          <ac:chgData name="Aurelien Domont" userId="6da7715ce44349b3" providerId="LiveId" clId="{1F031B4F-7A08-47B6-9BBE-3BE595172CA2}" dt="2023-02-15T23:30:48.936" v="1127"/>
          <ac:spMkLst>
            <pc:docMk/>
            <pc:sldMk cId="2011477896" sldId="2741"/>
            <ac:spMk id="44" creationId="{600F7DCD-BAFD-F8DA-9B79-43CF30D7F0E9}"/>
          </ac:spMkLst>
        </pc:spChg>
        <pc:spChg chg="add del mod">
          <ac:chgData name="Aurelien Domont" userId="6da7715ce44349b3" providerId="LiveId" clId="{1F031B4F-7A08-47B6-9BBE-3BE595172CA2}" dt="2023-02-16T02:02:03.743" v="2515" actId="21"/>
          <ac:spMkLst>
            <pc:docMk/>
            <pc:sldMk cId="2011477896" sldId="2741"/>
            <ac:spMk id="45" creationId="{899F843F-906F-4482-102B-CB0FEE402FBD}"/>
          </ac:spMkLst>
        </pc:spChg>
        <pc:spChg chg="add del mod">
          <ac:chgData name="Aurelien Domont" userId="6da7715ce44349b3" providerId="LiveId" clId="{1F031B4F-7A08-47B6-9BBE-3BE595172CA2}" dt="2023-02-16T02:06:02.143" v="2665" actId="478"/>
          <ac:spMkLst>
            <pc:docMk/>
            <pc:sldMk cId="2011477896" sldId="2741"/>
            <ac:spMk id="47" creationId="{BA4E1486-CED8-EA56-A33E-98F871C54699}"/>
          </ac:spMkLst>
        </pc:spChg>
        <pc:spChg chg="add del mod">
          <ac:chgData name="Aurelien Domont" userId="6da7715ce44349b3" providerId="LiveId" clId="{1F031B4F-7A08-47B6-9BBE-3BE595172CA2}" dt="2023-02-16T02:07:42.658" v="2725" actId="478"/>
          <ac:spMkLst>
            <pc:docMk/>
            <pc:sldMk cId="2011477896" sldId="2741"/>
            <ac:spMk id="48" creationId="{2C7343C0-3B56-4E86-079A-352D83701505}"/>
          </ac:spMkLst>
        </pc:spChg>
        <pc:spChg chg="add mod">
          <ac:chgData name="Aurelien Domont" userId="6da7715ce44349b3" providerId="LiveId" clId="{1F031B4F-7A08-47B6-9BBE-3BE595172CA2}" dt="2023-02-16T02:09:10.269" v="2791" actId="20577"/>
          <ac:spMkLst>
            <pc:docMk/>
            <pc:sldMk cId="2011477896" sldId="2741"/>
            <ac:spMk id="49" creationId="{2DDCEE89-B622-27A5-2017-A424C49B2776}"/>
          </ac:spMkLst>
        </pc:spChg>
        <pc:spChg chg="add del mod">
          <ac:chgData name="Aurelien Domont" userId="6da7715ce44349b3" providerId="LiveId" clId="{1F031B4F-7A08-47B6-9BBE-3BE595172CA2}" dt="2023-02-16T02:01:56.891" v="2512" actId="478"/>
          <ac:spMkLst>
            <pc:docMk/>
            <pc:sldMk cId="2011477896" sldId="2741"/>
            <ac:spMk id="50" creationId="{C9C7C43C-3CE2-8F96-C8FE-76A792E8E28C}"/>
          </ac:spMkLst>
        </pc:spChg>
        <pc:spChg chg="add mod">
          <ac:chgData name="Aurelien Domont" userId="6da7715ce44349b3" providerId="LiveId" clId="{1F031B4F-7A08-47B6-9BBE-3BE595172CA2}" dt="2023-02-16T01:58:43.097" v="2413" actId="207"/>
          <ac:spMkLst>
            <pc:docMk/>
            <pc:sldMk cId="2011477896" sldId="2741"/>
            <ac:spMk id="51" creationId="{CCB88623-C567-7309-9B62-838FE94D3453}"/>
          </ac:spMkLst>
        </pc:spChg>
        <pc:picChg chg="del">
          <ac:chgData name="Aurelien Domont" userId="6da7715ce44349b3" providerId="LiveId" clId="{1F031B4F-7A08-47B6-9BBE-3BE595172CA2}" dt="2023-02-15T23:30:42.533" v="1126" actId="478"/>
          <ac:picMkLst>
            <pc:docMk/>
            <pc:sldMk cId="2011477896" sldId="2741"/>
            <ac:picMk id="5" creationId="{B591932E-445E-4FC6-BA49-B391B8DCAC7A}"/>
          </ac:picMkLst>
        </pc:picChg>
        <pc:picChg chg="del">
          <ac:chgData name="Aurelien Domont" userId="6da7715ce44349b3" providerId="LiveId" clId="{1F031B4F-7A08-47B6-9BBE-3BE595172CA2}" dt="2023-02-15T23:30:42.533" v="1126" actId="478"/>
          <ac:picMkLst>
            <pc:docMk/>
            <pc:sldMk cId="2011477896" sldId="2741"/>
            <ac:picMk id="7" creationId="{F8BDF65F-C179-4D90-9DAF-9A04B8C11C0C}"/>
          </ac:picMkLst>
        </pc:picChg>
        <pc:picChg chg="add mod">
          <ac:chgData name="Aurelien Domont" userId="6da7715ce44349b3" providerId="LiveId" clId="{1F031B4F-7A08-47B6-9BBE-3BE595172CA2}" dt="2023-02-15T23:30:48.936" v="1127"/>
          <ac:picMkLst>
            <pc:docMk/>
            <pc:sldMk cId="2011477896" sldId="2741"/>
            <ac:picMk id="20" creationId="{B00A49C2-72BF-2094-DF90-799F1324A14B}"/>
          </ac:picMkLst>
        </pc:picChg>
        <pc:picChg chg="add mod">
          <ac:chgData name="Aurelien Domont" userId="6da7715ce44349b3" providerId="LiveId" clId="{1F031B4F-7A08-47B6-9BBE-3BE595172CA2}" dt="2023-02-15T23:30:48.936" v="1127"/>
          <ac:picMkLst>
            <pc:docMk/>
            <pc:sldMk cId="2011477896" sldId="2741"/>
            <ac:picMk id="23" creationId="{68918C5A-A036-E8ED-A815-99AB6C53E96C}"/>
          </ac:picMkLst>
        </pc:picChg>
        <pc:picChg chg="del">
          <ac:chgData name="Aurelien Domont" userId="6da7715ce44349b3" providerId="LiveId" clId="{1F031B4F-7A08-47B6-9BBE-3BE595172CA2}" dt="2023-02-15T23:30:42.533" v="1126" actId="478"/>
          <ac:picMkLst>
            <pc:docMk/>
            <pc:sldMk cId="2011477896" sldId="2741"/>
            <ac:picMk id="24" creationId="{D2DB75A5-E17D-431C-A54A-40A06ADDBEF3}"/>
          </ac:picMkLst>
        </pc:picChg>
        <pc:picChg chg="del">
          <ac:chgData name="Aurelien Domont" userId="6da7715ce44349b3" providerId="LiveId" clId="{1F031B4F-7A08-47B6-9BBE-3BE595172CA2}" dt="2023-02-15T23:30:42.533" v="1126" actId="478"/>
          <ac:picMkLst>
            <pc:docMk/>
            <pc:sldMk cId="2011477896" sldId="2741"/>
            <ac:picMk id="25" creationId="{86024EC3-117C-470E-8D6A-4C9B8B7C4E90}"/>
          </ac:picMkLst>
        </pc:picChg>
        <pc:picChg chg="add mod">
          <ac:chgData name="Aurelien Domont" userId="6da7715ce44349b3" providerId="LiveId" clId="{1F031B4F-7A08-47B6-9BBE-3BE595172CA2}" dt="2023-02-15T23:30:48.936" v="1127"/>
          <ac:picMkLst>
            <pc:docMk/>
            <pc:sldMk cId="2011477896" sldId="2741"/>
            <ac:picMk id="28" creationId="{07C71AD7-6DDE-A10D-8E32-56092C2F51C3}"/>
          </ac:picMkLst>
        </pc:picChg>
        <pc:picChg chg="del">
          <ac:chgData name="Aurelien Domont" userId="6da7715ce44349b3" providerId="LiveId" clId="{1F031B4F-7A08-47B6-9BBE-3BE595172CA2}" dt="2023-02-15T23:30:42.533" v="1126" actId="478"/>
          <ac:picMkLst>
            <pc:docMk/>
            <pc:sldMk cId="2011477896" sldId="2741"/>
            <ac:picMk id="30" creationId="{39260E92-FADF-4076-9052-5C1B0040ACAE}"/>
          </ac:picMkLst>
        </pc:picChg>
        <pc:picChg chg="add mod">
          <ac:chgData name="Aurelien Domont" userId="6da7715ce44349b3" providerId="LiveId" clId="{1F031B4F-7A08-47B6-9BBE-3BE595172CA2}" dt="2023-02-15T23:30:48.936" v="1127"/>
          <ac:picMkLst>
            <pc:docMk/>
            <pc:sldMk cId="2011477896" sldId="2741"/>
            <ac:picMk id="36" creationId="{79631AAF-51A8-EF65-9048-679C37AD76FF}"/>
          </ac:picMkLst>
        </pc:picChg>
        <pc:picChg chg="add mod">
          <ac:chgData name="Aurelien Domont" userId="6da7715ce44349b3" providerId="LiveId" clId="{1F031B4F-7A08-47B6-9BBE-3BE595172CA2}" dt="2023-02-15T23:30:48.936" v="1127"/>
          <ac:picMkLst>
            <pc:docMk/>
            <pc:sldMk cId="2011477896" sldId="2741"/>
            <ac:picMk id="37" creationId="{C19E0D91-BC47-34DE-8F70-9F255B976A5B}"/>
          </ac:picMkLst>
        </pc:picChg>
        <pc:cxnChg chg="del">
          <ac:chgData name="Aurelien Domont" userId="6da7715ce44349b3" providerId="LiveId" clId="{1F031B4F-7A08-47B6-9BBE-3BE595172CA2}" dt="2023-02-15T23:30:42.533" v="1126" actId="478"/>
          <ac:cxnSpMkLst>
            <pc:docMk/>
            <pc:sldMk cId="2011477896" sldId="2741"/>
            <ac:cxnSpMk id="15" creationId="{2F1CB0CC-174D-DC9F-858B-0C02A80273D2}"/>
          </ac:cxnSpMkLst>
        </pc:cxnChg>
        <pc:cxnChg chg="add mod">
          <ac:chgData name="Aurelien Domont" userId="6da7715ce44349b3" providerId="LiveId" clId="{1F031B4F-7A08-47B6-9BBE-3BE595172CA2}" dt="2023-02-15T23:30:48.936" v="1127"/>
          <ac:cxnSpMkLst>
            <pc:docMk/>
            <pc:sldMk cId="2011477896" sldId="2741"/>
            <ac:cxnSpMk id="46" creationId="{077FA539-2841-3869-06A0-8F85CA40F8CB}"/>
          </ac:cxnSpMkLst>
        </pc:cxnChg>
      </pc:sldChg>
      <pc:sldChg chg="modSp mod">
        <pc:chgData name="Aurelien Domont" userId="6da7715ce44349b3" providerId="LiveId" clId="{1F031B4F-7A08-47B6-9BBE-3BE595172CA2}" dt="2023-02-15T05:43:27.044" v="1013" actId="20577"/>
        <pc:sldMkLst>
          <pc:docMk/>
          <pc:sldMk cId="544850422" sldId="2743"/>
        </pc:sldMkLst>
        <pc:spChg chg="mod">
          <ac:chgData name="Aurelien Domont" userId="6da7715ce44349b3" providerId="LiveId" clId="{1F031B4F-7A08-47B6-9BBE-3BE595172CA2}" dt="2023-02-15T05:43:27.044" v="1013" actId="20577"/>
          <ac:spMkLst>
            <pc:docMk/>
            <pc:sldMk cId="544850422" sldId="2743"/>
            <ac:spMk id="55" creationId="{617468D6-BD3B-9CF9-8959-2A07D592967A}"/>
          </ac:spMkLst>
        </pc:spChg>
      </pc:sldChg>
      <pc:sldChg chg="addSp delSp modSp mod">
        <pc:chgData name="Aurelien Domont" userId="6da7715ce44349b3" providerId="LiveId" clId="{1F031B4F-7A08-47B6-9BBE-3BE595172CA2}" dt="2023-02-15T05:46:50.014" v="1017" actId="165"/>
        <pc:sldMkLst>
          <pc:docMk/>
          <pc:sldMk cId="351876817" sldId="2744"/>
        </pc:sldMkLst>
        <pc:spChg chg="mod topLvl">
          <ac:chgData name="Aurelien Domont" userId="6da7715ce44349b3" providerId="LiveId" clId="{1F031B4F-7A08-47B6-9BBE-3BE595172CA2}" dt="2023-02-15T05:46:50.014" v="1017" actId="165"/>
          <ac:spMkLst>
            <pc:docMk/>
            <pc:sldMk cId="351876817" sldId="2744"/>
            <ac:spMk id="40" creationId="{E741BEDE-FDB4-A4AE-FA5A-CDB056339518}"/>
          </ac:spMkLst>
        </pc:spChg>
        <pc:spChg chg="mod topLvl">
          <ac:chgData name="Aurelien Domont" userId="6da7715ce44349b3" providerId="LiveId" clId="{1F031B4F-7A08-47B6-9BBE-3BE595172CA2}" dt="2023-02-15T05:46:50.014" v="1017" actId="165"/>
          <ac:spMkLst>
            <pc:docMk/>
            <pc:sldMk cId="351876817" sldId="2744"/>
            <ac:spMk id="41" creationId="{99EF11D5-819C-5E0E-944C-2BDBED297643}"/>
          </ac:spMkLst>
        </pc:spChg>
        <pc:spChg chg="mod topLvl">
          <ac:chgData name="Aurelien Domont" userId="6da7715ce44349b3" providerId="LiveId" clId="{1F031B4F-7A08-47B6-9BBE-3BE595172CA2}" dt="2023-02-15T05:46:50.014" v="1017" actId="165"/>
          <ac:spMkLst>
            <pc:docMk/>
            <pc:sldMk cId="351876817" sldId="2744"/>
            <ac:spMk id="42" creationId="{BD87F733-26CF-9BD7-0742-B1D42ADCA1D5}"/>
          </ac:spMkLst>
        </pc:spChg>
        <pc:spChg chg="mod topLvl">
          <ac:chgData name="Aurelien Domont" userId="6da7715ce44349b3" providerId="LiveId" clId="{1F031B4F-7A08-47B6-9BBE-3BE595172CA2}" dt="2023-02-15T05:46:50.014" v="1017" actId="165"/>
          <ac:spMkLst>
            <pc:docMk/>
            <pc:sldMk cId="351876817" sldId="2744"/>
            <ac:spMk id="43" creationId="{00E45C36-3F16-7E1A-1C23-68176811BDA6}"/>
          </ac:spMkLst>
        </pc:spChg>
        <pc:spChg chg="mod topLvl">
          <ac:chgData name="Aurelien Domont" userId="6da7715ce44349b3" providerId="LiveId" clId="{1F031B4F-7A08-47B6-9BBE-3BE595172CA2}" dt="2023-02-15T05:46:50.014" v="1017" actId="165"/>
          <ac:spMkLst>
            <pc:docMk/>
            <pc:sldMk cId="351876817" sldId="2744"/>
            <ac:spMk id="44" creationId="{D8BCB293-39C6-7A70-5DAB-A529903DCE84}"/>
          </ac:spMkLst>
        </pc:spChg>
        <pc:grpChg chg="add del mod">
          <ac:chgData name="Aurelien Domont" userId="6da7715ce44349b3" providerId="LiveId" clId="{1F031B4F-7A08-47B6-9BBE-3BE595172CA2}" dt="2023-02-15T05:46:50.014" v="1017" actId="165"/>
          <ac:grpSpMkLst>
            <pc:docMk/>
            <pc:sldMk cId="351876817" sldId="2744"/>
            <ac:grpSpMk id="2" creationId="{238C6A5F-70E8-D0AA-C607-3E905217085A}"/>
          </ac:grpSpMkLst>
        </pc:grpChg>
      </pc:sldChg>
      <pc:sldChg chg="del">
        <pc:chgData name="Aurelien Domont" userId="6da7715ce44349b3" providerId="LiveId" clId="{1F031B4F-7A08-47B6-9BBE-3BE595172CA2}" dt="2023-02-15T23:35:16.004" v="1211" actId="47"/>
        <pc:sldMkLst>
          <pc:docMk/>
          <pc:sldMk cId="3112163889" sldId="2751"/>
        </pc:sldMkLst>
      </pc:sldChg>
      <pc:sldChg chg="delSp del mod">
        <pc:chgData name="Aurelien Domont" userId="6da7715ce44349b3" providerId="LiveId" clId="{1F031B4F-7A08-47B6-9BBE-3BE595172CA2}" dt="2023-02-15T23:35:50.163" v="1220" actId="47"/>
        <pc:sldMkLst>
          <pc:docMk/>
          <pc:sldMk cId="1126955548" sldId="2752"/>
        </pc:sldMkLst>
        <pc:spChg chg="del">
          <ac:chgData name="Aurelien Domont" userId="6da7715ce44349b3" providerId="LiveId" clId="{1F031B4F-7A08-47B6-9BBE-3BE595172CA2}" dt="2023-02-15T23:35:26.405" v="1213" actId="21"/>
          <ac:spMkLst>
            <pc:docMk/>
            <pc:sldMk cId="1126955548" sldId="2752"/>
            <ac:spMk id="2" creationId="{F8F72663-1D50-89AE-398A-6464703B0F60}"/>
          </ac:spMkLst>
        </pc:spChg>
      </pc:sldChg>
      <pc:sldChg chg="del">
        <pc:chgData name="Aurelien Domont" userId="6da7715ce44349b3" providerId="LiveId" clId="{1F031B4F-7A08-47B6-9BBE-3BE595172CA2}" dt="2023-02-15T23:36:54.158" v="1227" actId="47"/>
        <pc:sldMkLst>
          <pc:docMk/>
          <pc:sldMk cId="2277803655" sldId="2753"/>
        </pc:sldMkLst>
      </pc:sldChg>
      <pc:sldChg chg="del">
        <pc:chgData name="Aurelien Domont" userId="6da7715ce44349b3" providerId="LiveId" clId="{1F031B4F-7A08-47B6-9BBE-3BE595172CA2}" dt="2023-02-15T23:37:04.506" v="1229" actId="47"/>
        <pc:sldMkLst>
          <pc:docMk/>
          <pc:sldMk cId="2207039784" sldId="2754"/>
        </pc:sldMkLst>
      </pc:sldChg>
      <pc:sldChg chg="del">
        <pc:chgData name="Aurelien Domont" userId="6da7715ce44349b3" providerId="LiveId" clId="{1F031B4F-7A08-47B6-9BBE-3BE595172CA2}" dt="2023-02-15T23:37:24.007" v="1239" actId="47"/>
        <pc:sldMkLst>
          <pc:docMk/>
          <pc:sldMk cId="1184178972" sldId="2755"/>
        </pc:sldMkLst>
      </pc:sldChg>
      <pc:sldChg chg="del">
        <pc:chgData name="Aurelien Domont" userId="6da7715ce44349b3" providerId="LiveId" clId="{1F031B4F-7A08-47B6-9BBE-3BE595172CA2}" dt="2023-02-15T23:37:09.334" v="1231" actId="47"/>
        <pc:sldMkLst>
          <pc:docMk/>
          <pc:sldMk cId="1624697953" sldId="2756"/>
        </pc:sldMkLst>
      </pc:sldChg>
      <pc:sldChg chg="del">
        <pc:chgData name="Aurelien Domont" userId="6da7715ce44349b3" providerId="LiveId" clId="{1F031B4F-7A08-47B6-9BBE-3BE595172CA2}" dt="2023-02-15T23:37:12.757" v="1233" actId="47"/>
        <pc:sldMkLst>
          <pc:docMk/>
          <pc:sldMk cId="1564075144" sldId="2757"/>
        </pc:sldMkLst>
      </pc:sldChg>
      <pc:sldChg chg="del">
        <pc:chgData name="Aurelien Domont" userId="6da7715ce44349b3" providerId="LiveId" clId="{1F031B4F-7A08-47B6-9BBE-3BE595172CA2}" dt="2023-02-15T23:37:16.433" v="1235" actId="47"/>
        <pc:sldMkLst>
          <pc:docMk/>
          <pc:sldMk cId="4223508036" sldId="2758"/>
        </pc:sldMkLst>
      </pc:sldChg>
      <pc:sldChg chg="del">
        <pc:chgData name="Aurelien Domont" userId="6da7715ce44349b3" providerId="LiveId" clId="{1F031B4F-7A08-47B6-9BBE-3BE595172CA2}" dt="2023-02-15T23:37:19.271" v="1237" actId="47"/>
        <pc:sldMkLst>
          <pc:docMk/>
          <pc:sldMk cId="3910845306" sldId="2759"/>
        </pc:sldMkLst>
      </pc:sldChg>
      <pc:sldChg chg="modSp mod">
        <pc:chgData name="Aurelien Domont" userId="6da7715ce44349b3" providerId="LiveId" clId="{1F031B4F-7A08-47B6-9BBE-3BE595172CA2}" dt="2023-02-16T00:15:21.538" v="1747" actId="179"/>
        <pc:sldMkLst>
          <pc:docMk/>
          <pc:sldMk cId="3324380418" sldId="2761"/>
        </pc:sldMkLst>
        <pc:spChg chg="mod">
          <ac:chgData name="Aurelien Domont" userId="6da7715ce44349b3" providerId="LiveId" clId="{1F031B4F-7A08-47B6-9BBE-3BE595172CA2}" dt="2023-02-16T00:15:21.538" v="1747" actId="179"/>
          <ac:spMkLst>
            <pc:docMk/>
            <pc:sldMk cId="3324380418" sldId="2761"/>
            <ac:spMk id="9" creationId="{45BDE959-4478-A6AA-F697-2B9B1E293F12}"/>
          </ac:spMkLst>
        </pc:spChg>
        <pc:spChg chg="mod">
          <ac:chgData name="Aurelien Domont" userId="6da7715ce44349b3" providerId="LiveId" clId="{1F031B4F-7A08-47B6-9BBE-3BE595172CA2}" dt="2023-02-16T00:14:54.025" v="1738" actId="20577"/>
          <ac:spMkLst>
            <pc:docMk/>
            <pc:sldMk cId="3324380418" sldId="2761"/>
            <ac:spMk id="16" creationId="{6C2BB713-9637-4B9B-938F-E9768876782A}"/>
          </ac:spMkLst>
        </pc:spChg>
      </pc:sldChg>
      <pc:sldChg chg="modSp mod">
        <pc:chgData name="Aurelien Domont" userId="6da7715ce44349b3" providerId="LiveId" clId="{1F031B4F-7A08-47B6-9BBE-3BE595172CA2}" dt="2023-02-15T05:58:03.878" v="1043" actId="179"/>
        <pc:sldMkLst>
          <pc:docMk/>
          <pc:sldMk cId="2379980393" sldId="2763"/>
        </pc:sldMkLst>
        <pc:spChg chg="mod">
          <ac:chgData name="Aurelien Domont" userId="6da7715ce44349b3" providerId="LiveId" clId="{1F031B4F-7A08-47B6-9BBE-3BE595172CA2}" dt="2023-02-15T05:58:03.878" v="1043" actId="179"/>
          <ac:spMkLst>
            <pc:docMk/>
            <pc:sldMk cId="2379980393" sldId="2763"/>
            <ac:spMk id="5" creationId="{5A087049-D85B-5791-D822-A7F65EC7D2B8}"/>
          </ac:spMkLst>
        </pc:spChg>
      </pc:sldChg>
      <pc:sldChg chg="del">
        <pc:chgData name="Aurelien Domont" userId="6da7715ce44349b3" providerId="LiveId" clId="{1F031B4F-7A08-47B6-9BBE-3BE595172CA2}" dt="2023-02-16T00:15:27.089" v="1748" actId="47"/>
        <pc:sldMkLst>
          <pc:docMk/>
          <pc:sldMk cId="4071876498" sldId="2764"/>
        </pc:sldMkLst>
      </pc:sldChg>
      <pc:sldChg chg="modSp mod">
        <pc:chgData name="Aurelien Domont" userId="6da7715ce44349b3" providerId="LiveId" clId="{1F031B4F-7A08-47B6-9BBE-3BE595172CA2}" dt="2023-02-15T06:04:22.981" v="1044" actId="14100"/>
        <pc:sldMkLst>
          <pc:docMk/>
          <pc:sldMk cId="1468999048" sldId="2766"/>
        </pc:sldMkLst>
        <pc:spChg chg="mod">
          <ac:chgData name="Aurelien Domont" userId="6da7715ce44349b3" providerId="LiveId" clId="{1F031B4F-7A08-47B6-9BBE-3BE595172CA2}" dt="2023-02-15T06:04:22.981" v="1044" actId="14100"/>
          <ac:spMkLst>
            <pc:docMk/>
            <pc:sldMk cId="1468999048" sldId="2766"/>
            <ac:spMk id="6" creationId="{B4E7DAA2-AD03-0CB7-A53B-9AF2A3C68642}"/>
          </ac:spMkLst>
        </pc:spChg>
        <pc:spChg chg="mod">
          <ac:chgData name="Aurelien Domont" userId="6da7715ce44349b3" providerId="LiveId" clId="{1F031B4F-7A08-47B6-9BBE-3BE595172CA2}" dt="2023-02-15T06:04:22.981" v="1044" actId="14100"/>
          <ac:spMkLst>
            <pc:docMk/>
            <pc:sldMk cId="1468999048" sldId="2766"/>
            <ac:spMk id="7" creationId="{2B9BB384-F195-2AFF-7994-05D39A9EAB76}"/>
          </ac:spMkLst>
        </pc:spChg>
      </pc:sldChg>
      <pc:sldChg chg="del">
        <pc:chgData name="Aurelien Domont" userId="6da7715ce44349b3" providerId="LiveId" clId="{1F031B4F-7A08-47B6-9BBE-3BE595172CA2}" dt="2023-02-15T23:37:26.914" v="1241" actId="47"/>
        <pc:sldMkLst>
          <pc:docMk/>
          <pc:sldMk cId="1332186064" sldId="2772"/>
        </pc:sldMkLst>
      </pc:sldChg>
      <pc:sldChg chg="del">
        <pc:chgData name="Aurelien Domont" userId="6da7715ce44349b3" providerId="LiveId" clId="{1F031B4F-7A08-47B6-9BBE-3BE595172CA2}" dt="2023-02-15T23:37:30.419" v="1243" actId="47"/>
        <pc:sldMkLst>
          <pc:docMk/>
          <pc:sldMk cId="2037395001" sldId="2773"/>
        </pc:sldMkLst>
      </pc:sldChg>
      <pc:sldChg chg="del">
        <pc:chgData name="Aurelien Domont" userId="6da7715ce44349b3" providerId="LiveId" clId="{1F031B4F-7A08-47B6-9BBE-3BE595172CA2}" dt="2023-02-15T23:37:34.285" v="1245" actId="47"/>
        <pc:sldMkLst>
          <pc:docMk/>
          <pc:sldMk cId="1754354637" sldId="2774"/>
        </pc:sldMkLst>
      </pc:sldChg>
      <pc:sldChg chg="del">
        <pc:chgData name="Aurelien Domont" userId="6da7715ce44349b3" providerId="LiveId" clId="{1F031B4F-7A08-47B6-9BBE-3BE595172CA2}" dt="2023-02-15T23:37:37.450" v="1247" actId="47"/>
        <pc:sldMkLst>
          <pc:docMk/>
          <pc:sldMk cId="2314066330" sldId="2775"/>
        </pc:sldMkLst>
      </pc:sldChg>
      <pc:sldChg chg="del">
        <pc:chgData name="Aurelien Domont" userId="6da7715ce44349b3" providerId="LiveId" clId="{1F031B4F-7A08-47B6-9BBE-3BE595172CA2}" dt="2023-02-15T23:37:40.967" v="1249" actId="47"/>
        <pc:sldMkLst>
          <pc:docMk/>
          <pc:sldMk cId="3099684635" sldId="2776"/>
        </pc:sldMkLst>
      </pc:sldChg>
      <pc:sldChg chg="del">
        <pc:chgData name="Aurelien Domont" userId="6da7715ce44349b3" providerId="LiveId" clId="{1F031B4F-7A08-47B6-9BBE-3BE595172CA2}" dt="2023-02-15T23:37:44.045" v="1251" actId="47"/>
        <pc:sldMkLst>
          <pc:docMk/>
          <pc:sldMk cId="761543894" sldId="2777"/>
        </pc:sldMkLst>
      </pc:sldChg>
      <pc:sldChg chg="del">
        <pc:chgData name="Aurelien Domont" userId="6da7715ce44349b3" providerId="LiveId" clId="{1F031B4F-7A08-47B6-9BBE-3BE595172CA2}" dt="2023-02-15T23:37:46.920" v="1253" actId="47"/>
        <pc:sldMkLst>
          <pc:docMk/>
          <pc:sldMk cId="3910541140" sldId="2779"/>
        </pc:sldMkLst>
      </pc:sldChg>
      <pc:sldChg chg="del">
        <pc:chgData name="Aurelien Domont" userId="6da7715ce44349b3" providerId="LiveId" clId="{1F031B4F-7A08-47B6-9BBE-3BE595172CA2}" dt="2023-02-15T23:37:51.014" v="1255" actId="47"/>
        <pc:sldMkLst>
          <pc:docMk/>
          <pc:sldMk cId="629347378" sldId="2780"/>
        </pc:sldMkLst>
      </pc:sldChg>
      <pc:sldChg chg="del">
        <pc:chgData name="Aurelien Domont" userId="6da7715ce44349b3" providerId="LiveId" clId="{1F031B4F-7A08-47B6-9BBE-3BE595172CA2}" dt="2023-02-15T23:37:55.180" v="1257" actId="47"/>
        <pc:sldMkLst>
          <pc:docMk/>
          <pc:sldMk cId="1577185624" sldId="2781"/>
        </pc:sldMkLst>
      </pc:sldChg>
      <pc:sldChg chg="modSp mod">
        <pc:chgData name="Aurelien Domont" userId="6da7715ce44349b3" providerId="LiveId" clId="{1F031B4F-7A08-47B6-9BBE-3BE595172CA2}" dt="2023-02-16T00:16:16.213" v="1763" actId="179"/>
        <pc:sldMkLst>
          <pc:docMk/>
          <pc:sldMk cId="3170385694" sldId="2782"/>
        </pc:sldMkLst>
        <pc:spChg chg="mod">
          <ac:chgData name="Aurelien Domont" userId="6da7715ce44349b3" providerId="LiveId" clId="{1F031B4F-7A08-47B6-9BBE-3BE595172CA2}" dt="2023-02-16T00:16:16.213" v="1763" actId="179"/>
          <ac:spMkLst>
            <pc:docMk/>
            <pc:sldMk cId="3170385694" sldId="2782"/>
            <ac:spMk id="9" creationId="{8D9114CE-983C-A8EA-3BEE-881082EB8DCB}"/>
          </ac:spMkLst>
        </pc:spChg>
        <pc:spChg chg="mod">
          <ac:chgData name="Aurelien Domont" userId="6da7715ce44349b3" providerId="LiveId" clId="{1F031B4F-7A08-47B6-9BBE-3BE595172CA2}" dt="2023-02-16T00:15:50.486" v="1754" actId="20577"/>
          <ac:spMkLst>
            <pc:docMk/>
            <pc:sldMk cId="3170385694" sldId="2782"/>
            <ac:spMk id="16" creationId="{6C2BB713-9637-4B9B-938F-E9768876782A}"/>
          </ac:spMkLst>
        </pc:spChg>
      </pc:sldChg>
      <pc:sldChg chg="modSp mod">
        <pc:chgData name="Aurelien Domont" userId="6da7715ce44349b3" providerId="LiveId" clId="{1F031B4F-7A08-47B6-9BBE-3BE595172CA2}" dt="2023-02-15T06:18:29.309" v="1098" actId="179"/>
        <pc:sldMkLst>
          <pc:docMk/>
          <pc:sldMk cId="4243610664" sldId="2784"/>
        </pc:sldMkLst>
        <pc:spChg chg="mod">
          <ac:chgData name="Aurelien Domont" userId="6da7715ce44349b3" providerId="LiveId" clId="{1F031B4F-7A08-47B6-9BBE-3BE595172CA2}" dt="2023-02-15T06:18:24.866" v="1097" actId="179"/>
          <ac:spMkLst>
            <pc:docMk/>
            <pc:sldMk cId="4243610664" sldId="2784"/>
            <ac:spMk id="14" creationId="{63FD8321-6744-2285-5414-63C9EFEBB933}"/>
          </ac:spMkLst>
        </pc:spChg>
        <pc:spChg chg="mod">
          <ac:chgData name="Aurelien Domont" userId="6da7715ce44349b3" providerId="LiveId" clId="{1F031B4F-7A08-47B6-9BBE-3BE595172CA2}" dt="2023-02-15T06:18:29.309" v="1098" actId="179"/>
          <ac:spMkLst>
            <pc:docMk/>
            <pc:sldMk cId="4243610664" sldId="2784"/>
            <ac:spMk id="17" creationId="{36737EA6-9AB2-DC06-8726-9673D2D8C95A}"/>
          </ac:spMkLst>
        </pc:spChg>
      </pc:sldChg>
      <pc:sldChg chg="addSp delSp modSp mod">
        <pc:chgData name="Aurelien Domont" userId="6da7715ce44349b3" providerId="LiveId" clId="{1F031B4F-7A08-47B6-9BBE-3BE595172CA2}" dt="2023-02-14T07:32:29.205" v="610"/>
        <pc:sldMkLst>
          <pc:docMk/>
          <pc:sldMk cId="2235391812" sldId="2797"/>
        </pc:sldMkLst>
        <pc:spChg chg="add mod">
          <ac:chgData name="Aurelien Domont" userId="6da7715ce44349b3" providerId="LiveId" clId="{1F031B4F-7A08-47B6-9BBE-3BE595172CA2}" dt="2023-02-14T07:32:29.205" v="610"/>
          <ac:spMkLst>
            <pc:docMk/>
            <pc:sldMk cId="2235391812" sldId="2797"/>
            <ac:spMk id="2" creationId="{C86205F0-5C18-9B99-439C-CD1609AA78D9}"/>
          </ac:spMkLst>
        </pc:spChg>
        <pc:spChg chg="del">
          <ac:chgData name="Aurelien Domont" userId="6da7715ce44349b3" providerId="LiveId" clId="{1F031B4F-7A08-47B6-9BBE-3BE595172CA2}" dt="2023-02-14T07:32:29.098" v="609" actId="478"/>
          <ac:spMkLst>
            <pc:docMk/>
            <pc:sldMk cId="2235391812" sldId="2797"/>
            <ac:spMk id="3" creationId="{CE2529A3-BA97-486F-9E02-8DFAAA7D8D38}"/>
          </ac:spMkLst>
        </pc:spChg>
        <pc:spChg chg="mod">
          <ac:chgData name="Aurelien Domont" userId="6da7715ce44349b3" providerId="LiveId" clId="{1F031B4F-7A08-47B6-9BBE-3BE595172CA2}" dt="2023-02-14T07:27:22.901" v="594" actId="403"/>
          <ac:spMkLst>
            <pc:docMk/>
            <pc:sldMk cId="2235391812" sldId="2797"/>
            <ac:spMk id="41" creationId="{CD990F59-0B48-36A1-F999-39E4EE782D3B}"/>
          </ac:spMkLst>
        </pc:spChg>
        <pc:spChg chg="mod">
          <ac:chgData name="Aurelien Domont" userId="6da7715ce44349b3" providerId="LiveId" clId="{1F031B4F-7A08-47B6-9BBE-3BE595172CA2}" dt="2023-02-14T07:27:33.972" v="600" actId="20577"/>
          <ac:spMkLst>
            <pc:docMk/>
            <pc:sldMk cId="2235391812" sldId="2797"/>
            <ac:spMk id="42" creationId="{2A757679-28EA-0775-A492-6413B98C5DA4}"/>
          </ac:spMkLst>
        </pc:spChg>
        <pc:spChg chg="mod">
          <ac:chgData name="Aurelien Domont" userId="6da7715ce44349b3" providerId="LiveId" clId="{1F031B4F-7A08-47B6-9BBE-3BE595172CA2}" dt="2023-02-14T07:27:34.868" v="601" actId="20577"/>
          <ac:spMkLst>
            <pc:docMk/>
            <pc:sldMk cId="2235391812" sldId="2797"/>
            <ac:spMk id="43" creationId="{AA5FBF13-DAFE-0184-DBA9-880EEC6AA61D}"/>
          </ac:spMkLst>
        </pc:spChg>
        <pc:spChg chg="mod">
          <ac:chgData name="Aurelien Domont" userId="6da7715ce44349b3" providerId="LiveId" clId="{1F031B4F-7A08-47B6-9BBE-3BE595172CA2}" dt="2023-02-14T07:27:35.744" v="602" actId="20577"/>
          <ac:spMkLst>
            <pc:docMk/>
            <pc:sldMk cId="2235391812" sldId="2797"/>
            <ac:spMk id="44" creationId="{49C668E4-6830-BF8D-495B-71189853C90F}"/>
          </ac:spMkLst>
        </pc:spChg>
        <pc:spChg chg="mod">
          <ac:chgData name="Aurelien Domont" userId="6da7715ce44349b3" providerId="LiveId" clId="{1F031B4F-7A08-47B6-9BBE-3BE595172CA2}" dt="2023-02-14T07:27:36.778" v="603" actId="20577"/>
          <ac:spMkLst>
            <pc:docMk/>
            <pc:sldMk cId="2235391812" sldId="2797"/>
            <ac:spMk id="45" creationId="{9DD2FFE9-C088-1113-6EFE-449EBF03876F}"/>
          </ac:spMkLst>
        </pc:spChg>
        <pc:spChg chg="mod">
          <ac:chgData name="Aurelien Domont" userId="6da7715ce44349b3" providerId="LiveId" clId="{1F031B4F-7A08-47B6-9BBE-3BE595172CA2}" dt="2023-02-14T07:27:37.768" v="604" actId="20577"/>
          <ac:spMkLst>
            <pc:docMk/>
            <pc:sldMk cId="2235391812" sldId="2797"/>
            <ac:spMk id="46" creationId="{6DEA0BCA-43E5-7CAE-B72C-8D38BC88D3B2}"/>
          </ac:spMkLst>
        </pc:spChg>
        <pc:spChg chg="del">
          <ac:chgData name="Aurelien Domont" userId="6da7715ce44349b3" providerId="LiveId" clId="{1F031B4F-7A08-47B6-9BBE-3BE595172CA2}" dt="2023-02-14T07:26:43.739" v="583" actId="478"/>
          <ac:spMkLst>
            <pc:docMk/>
            <pc:sldMk cId="2235391812" sldId="2797"/>
            <ac:spMk id="47" creationId="{D4D73DD5-8258-233A-8CCF-AFD0F794EDC3}"/>
          </ac:spMkLst>
        </pc:spChg>
        <pc:spChg chg="del">
          <ac:chgData name="Aurelien Domont" userId="6da7715ce44349b3" providerId="LiveId" clId="{1F031B4F-7A08-47B6-9BBE-3BE595172CA2}" dt="2023-02-14T07:27:15.151" v="591" actId="478"/>
          <ac:spMkLst>
            <pc:docMk/>
            <pc:sldMk cId="2235391812" sldId="2797"/>
            <ac:spMk id="48" creationId="{35403A2C-2CD4-95CB-69E3-ABC3D492C177}"/>
          </ac:spMkLst>
        </pc:spChg>
        <pc:spChg chg="del">
          <ac:chgData name="Aurelien Domont" userId="6da7715ce44349b3" providerId="LiveId" clId="{1F031B4F-7A08-47B6-9BBE-3BE595172CA2}" dt="2023-02-14T07:27:15.151" v="591" actId="478"/>
          <ac:spMkLst>
            <pc:docMk/>
            <pc:sldMk cId="2235391812" sldId="2797"/>
            <ac:spMk id="49" creationId="{2D2439AA-D9D4-D722-CEB1-5948EC6569B4}"/>
          </ac:spMkLst>
        </pc:spChg>
        <pc:spChg chg="del">
          <ac:chgData name="Aurelien Domont" userId="6da7715ce44349b3" providerId="LiveId" clId="{1F031B4F-7A08-47B6-9BBE-3BE595172CA2}" dt="2023-02-14T07:27:15.151" v="591" actId="478"/>
          <ac:spMkLst>
            <pc:docMk/>
            <pc:sldMk cId="2235391812" sldId="2797"/>
            <ac:spMk id="50" creationId="{8B91EF51-AE2A-681F-2179-4204E728B1B8}"/>
          </ac:spMkLst>
        </pc:spChg>
        <pc:spChg chg="del">
          <ac:chgData name="Aurelien Domont" userId="6da7715ce44349b3" providerId="LiveId" clId="{1F031B4F-7A08-47B6-9BBE-3BE595172CA2}" dt="2023-02-14T07:27:15.151" v="591" actId="478"/>
          <ac:spMkLst>
            <pc:docMk/>
            <pc:sldMk cId="2235391812" sldId="2797"/>
            <ac:spMk id="51" creationId="{5AC85E35-03AB-7883-8211-C00E40111128}"/>
          </ac:spMkLst>
        </pc:spChg>
        <pc:spChg chg="del">
          <ac:chgData name="Aurelien Domont" userId="6da7715ce44349b3" providerId="LiveId" clId="{1F031B4F-7A08-47B6-9BBE-3BE595172CA2}" dt="2023-02-14T07:27:15.151" v="591" actId="478"/>
          <ac:spMkLst>
            <pc:docMk/>
            <pc:sldMk cId="2235391812" sldId="2797"/>
            <ac:spMk id="52" creationId="{D5EB0EB6-0975-33F7-39AD-227C487D6D5E}"/>
          </ac:spMkLst>
        </pc:spChg>
      </pc:sldChg>
      <pc:sldChg chg="modSp mod">
        <pc:chgData name="Aurelien Domont" userId="6da7715ce44349b3" providerId="LiveId" clId="{1F031B4F-7A08-47B6-9BBE-3BE595172CA2}" dt="2023-02-14T07:08:45.846" v="515" actId="313"/>
        <pc:sldMkLst>
          <pc:docMk/>
          <pc:sldMk cId="1317706576" sldId="2799"/>
        </pc:sldMkLst>
        <pc:spChg chg="mod">
          <ac:chgData name="Aurelien Domont" userId="6da7715ce44349b3" providerId="LiveId" clId="{1F031B4F-7A08-47B6-9BBE-3BE595172CA2}" dt="2023-02-14T07:08:31.754" v="495" actId="313"/>
          <ac:spMkLst>
            <pc:docMk/>
            <pc:sldMk cId="1317706576" sldId="2799"/>
            <ac:spMk id="50" creationId="{4AA80C94-4EF4-34F7-825E-01ECCAEC7FDE}"/>
          </ac:spMkLst>
        </pc:spChg>
        <pc:spChg chg="mod">
          <ac:chgData name="Aurelien Domont" userId="6da7715ce44349b3" providerId="LiveId" clId="{1F031B4F-7A08-47B6-9BBE-3BE595172CA2}" dt="2023-02-14T07:08:34.253" v="498" actId="313"/>
          <ac:spMkLst>
            <pc:docMk/>
            <pc:sldMk cId="1317706576" sldId="2799"/>
            <ac:spMk id="52" creationId="{66511DFC-17E6-B18F-B641-05937058358B}"/>
          </ac:spMkLst>
        </pc:spChg>
        <pc:spChg chg="mod">
          <ac:chgData name="Aurelien Domont" userId="6da7715ce44349b3" providerId="LiveId" clId="{1F031B4F-7A08-47B6-9BBE-3BE595172CA2}" dt="2023-02-14T07:08:37.381" v="502" actId="313"/>
          <ac:spMkLst>
            <pc:docMk/>
            <pc:sldMk cId="1317706576" sldId="2799"/>
            <ac:spMk id="54" creationId="{1A9E9FE6-4831-38BB-B2C4-18BDD27AF6D3}"/>
          </ac:spMkLst>
        </pc:spChg>
        <pc:spChg chg="mod">
          <ac:chgData name="Aurelien Domont" userId="6da7715ce44349b3" providerId="LiveId" clId="{1F031B4F-7A08-47B6-9BBE-3BE595172CA2}" dt="2023-02-14T07:08:38.386" v="503" actId="313"/>
          <ac:spMkLst>
            <pc:docMk/>
            <pc:sldMk cId="1317706576" sldId="2799"/>
            <ac:spMk id="56" creationId="{F1A7BA2F-243A-7D91-0360-CDFBFF4281B3}"/>
          </ac:spMkLst>
        </pc:spChg>
        <pc:spChg chg="mod">
          <ac:chgData name="Aurelien Domont" userId="6da7715ce44349b3" providerId="LiveId" clId="{1F031B4F-7A08-47B6-9BBE-3BE595172CA2}" dt="2023-02-14T07:08:39.882" v="505" actId="313"/>
          <ac:spMkLst>
            <pc:docMk/>
            <pc:sldMk cId="1317706576" sldId="2799"/>
            <ac:spMk id="58" creationId="{063E38C5-FCC5-3F69-0A59-39DE78C8DD4B}"/>
          </ac:spMkLst>
        </pc:spChg>
        <pc:spChg chg="mod">
          <ac:chgData name="Aurelien Domont" userId="6da7715ce44349b3" providerId="LiveId" clId="{1F031B4F-7A08-47B6-9BBE-3BE595172CA2}" dt="2023-02-14T07:08:40.621" v="506" actId="313"/>
          <ac:spMkLst>
            <pc:docMk/>
            <pc:sldMk cId="1317706576" sldId="2799"/>
            <ac:spMk id="60" creationId="{33051BFC-B164-20C6-BA13-019704D27ED9}"/>
          </ac:spMkLst>
        </pc:spChg>
        <pc:spChg chg="mod">
          <ac:chgData name="Aurelien Domont" userId="6da7715ce44349b3" providerId="LiveId" clId="{1F031B4F-7A08-47B6-9BBE-3BE595172CA2}" dt="2023-02-14T07:08:41.934" v="508" actId="313"/>
          <ac:spMkLst>
            <pc:docMk/>
            <pc:sldMk cId="1317706576" sldId="2799"/>
            <ac:spMk id="62" creationId="{4F339A0E-8D1B-5302-E76B-8E84854DF28B}"/>
          </ac:spMkLst>
        </pc:spChg>
        <pc:spChg chg="mod">
          <ac:chgData name="Aurelien Domont" userId="6da7715ce44349b3" providerId="LiveId" clId="{1F031B4F-7A08-47B6-9BBE-3BE595172CA2}" dt="2023-02-14T07:08:44.196" v="513" actId="313"/>
          <ac:spMkLst>
            <pc:docMk/>
            <pc:sldMk cId="1317706576" sldId="2799"/>
            <ac:spMk id="64" creationId="{A4F769DD-6658-1AA5-66B9-FEFFC10F0DBA}"/>
          </ac:spMkLst>
        </pc:spChg>
        <pc:spChg chg="mod">
          <ac:chgData name="Aurelien Domont" userId="6da7715ce44349b3" providerId="LiveId" clId="{1F031B4F-7A08-47B6-9BBE-3BE595172CA2}" dt="2023-02-14T07:08:44.584" v="514" actId="313"/>
          <ac:spMkLst>
            <pc:docMk/>
            <pc:sldMk cId="1317706576" sldId="2799"/>
            <ac:spMk id="66" creationId="{EFA3E9F9-ADF5-343F-BE9A-21F039D7BAD5}"/>
          </ac:spMkLst>
        </pc:spChg>
        <pc:spChg chg="mod">
          <ac:chgData name="Aurelien Domont" userId="6da7715ce44349b3" providerId="LiveId" clId="{1F031B4F-7A08-47B6-9BBE-3BE595172CA2}" dt="2023-02-14T07:08:45.846" v="515" actId="313"/>
          <ac:spMkLst>
            <pc:docMk/>
            <pc:sldMk cId="1317706576" sldId="2799"/>
            <ac:spMk id="68" creationId="{12CF56CA-71D9-4EFA-57D7-C90BF9393ECA}"/>
          </ac:spMkLst>
        </pc:spChg>
      </pc:sldChg>
      <pc:sldChg chg="addSp delSp modSp mod">
        <pc:chgData name="Aurelien Domont" userId="6da7715ce44349b3" providerId="LiveId" clId="{1F031B4F-7A08-47B6-9BBE-3BE595172CA2}" dt="2023-02-15T05:55:37.556" v="1035"/>
        <pc:sldMkLst>
          <pc:docMk/>
          <pc:sldMk cId="3961326851" sldId="2800"/>
        </pc:sldMkLst>
        <pc:spChg chg="add mod">
          <ac:chgData name="Aurelien Domont" userId="6da7715ce44349b3" providerId="LiveId" clId="{1F031B4F-7A08-47B6-9BBE-3BE595172CA2}" dt="2023-02-15T05:55:37.556" v="1035"/>
          <ac:spMkLst>
            <pc:docMk/>
            <pc:sldMk cId="3961326851" sldId="2800"/>
            <ac:spMk id="2" creationId="{6726335B-61E0-826F-FA56-6B872FD89430}"/>
          </ac:spMkLst>
        </pc:spChg>
        <pc:spChg chg="del">
          <ac:chgData name="Aurelien Domont" userId="6da7715ce44349b3" providerId="LiveId" clId="{1F031B4F-7A08-47B6-9BBE-3BE595172CA2}" dt="2023-02-15T05:55:36.524" v="1034" actId="478"/>
          <ac:spMkLst>
            <pc:docMk/>
            <pc:sldMk cId="3961326851" sldId="2800"/>
            <ac:spMk id="3" creationId="{CE2529A3-BA97-486F-9E02-8DFAAA7D8D38}"/>
          </ac:spMkLst>
        </pc:spChg>
        <pc:spChg chg="mod">
          <ac:chgData name="Aurelien Domont" userId="6da7715ce44349b3" providerId="LiveId" clId="{1F031B4F-7A08-47B6-9BBE-3BE595172CA2}" dt="2023-02-15T05:49:30.789" v="1018" actId="208"/>
          <ac:spMkLst>
            <pc:docMk/>
            <pc:sldMk cId="3961326851" sldId="2800"/>
            <ac:spMk id="25" creationId="{16C4EEF9-6124-630B-A81F-76CFE8B0D1F2}"/>
          </ac:spMkLst>
        </pc:spChg>
        <pc:spChg chg="mod">
          <ac:chgData name="Aurelien Domont" userId="6da7715ce44349b3" providerId="LiveId" clId="{1F031B4F-7A08-47B6-9BBE-3BE595172CA2}" dt="2023-02-15T05:49:30.789" v="1018" actId="208"/>
          <ac:spMkLst>
            <pc:docMk/>
            <pc:sldMk cId="3961326851" sldId="2800"/>
            <ac:spMk id="27" creationId="{C2285F08-F1B9-2009-3F6D-629E37939DD8}"/>
          </ac:spMkLst>
        </pc:spChg>
        <pc:spChg chg="mod">
          <ac:chgData name="Aurelien Domont" userId="6da7715ce44349b3" providerId="LiveId" clId="{1F031B4F-7A08-47B6-9BBE-3BE595172CA2}" dt="2023-02-15T05:49:30.789" v="1018" actId="208"/>
          <ac:spMkLst>
            <pc:docMk/>
            <pc:sldMk cId="3961326851" sldId="2800"/>
            <ac:spMk id="28" creationId="{284288CC-4B51-02FE-D68A-FFA6D3B0DB1D}"/>
          </ac:spMkLst>
        </pc:spChg>
      </pc:sldChg>
      <pc:sldChg chg="addSp delSp modSp mod">
        <pc:chgData name="Aurelien Domont" userId="6da7715ce44349b3" providerId="LiveId" clId="{1F031B4F-7A08-47B6-9BBE-3BE595172CA2}" dt="2023-02-15T05:55:43.805" v="1037"/>
        <pc:sldMkLst>
          <pc:docMk/>
          <pc:sldMk cId="2227034554" sldId="2801"/>
        </pc:sldMkLst>
        <pc:spChg chg="mod">
          <ac:chgData name="Aurelien Domont" userId="6da7715ce44349b3" providerId="LiveId" clId="{1F031B4F-7A08-47B6-9BBE-3BE595172CA2}" dt="2023-02-15T05:51:15.371" v="1029" actId="207"/>
          <ac:spMkLst>
            <pc:docMk/>
            <pc:sldMk cId="2227034554" sldId="2801"/>
            <ac:spMk id="2" creationId="{E6A37B04-A341-5D7B-F1AB-001C2D8DCC63}"/>
          </ac:spMkLst>
        </pc:spChg>
        <pc:spChg chg="del">
          <ac:chgData name="Aurelien Domont" userId="6da7715ce44349b3" providerId="LiveId" clId="{1F031B4F-7A08-47B6-9BBE-3BE595172CA2}" dt="2023-02-15T05:55:43.458" v="1036" actId="478"/>
          <ac:spMkLst>
            <pc:docMk/>
            <pc:sldMk cId="2227034554" sldId="2801"/>
            <ac:spMk id="3" creationId="{CE2529A3-BA97-486F-9E02-8DFAAA7D8D38}"/>
          </ac:spMkLst>
        </pc:spChg>
        <pc:spChg chg="mod">
          <ac:chgData name="Aurelien Domont" userId="6da7715ce44349b3" providerId="LiveId" clId="{1F031B4F-7A08-47B6-9BBE-3BE595172CA2}" dt="2023-02-15T05:50:21.398" v="1022" actId="114"/>
          <ac:spMkLst>
            <pc:docMk/>
            <pc:sldMk cId="2227034554" sldId="2801"/>
            <ac:spMk id="4" creationId="{F119B86B-D2C9-375B-80A1-DE8857E34142}"/>
          </ac:spMkLst>
        </pc:spChg>
        <pc:spChg chg="add mod">
          <ac:chgData name="Aurelien Domont" userId="6da7715ce44349b3" providerId="LiveId" clId="{1F031B4F-7A08-47B6-9BBE-3BE595172CA2}" dt="2023-02-15T05:55:43.805" v="1037"/>
          <ac:spMkLst>
            <pc:docMk/>
            <pc:sldMk cId="2227034554" sldId="2801"/>
            <ac:spMk id="5" creationId="{E53C2A4A-EFBD-2184-EA09-515FFB846E33}"/>
          </ac:spMkLst>
        </pc:spChg>
        <pc:spChg chg="mod">
          <ac:chgData name="Aurelien Domont" userId="6da7715ce44349b3" providerId="LiveId" clId="{1F031B4F-7A08-47B6-9BBE-3BE595172CA2}" dt="2023-02-15T05:50:17.862" v="1020" actId="207"/>
          <ac:spMkLst>
            <pc:docMk/>
            <pc:sldMk cId="2227034554" sldId="2801"/>
            <ac:spMk id="7" creationId="{3540A4D6-5138-02C2-E069-69A97F50341A}"/>
          </ac:spMkLst>
        </pc:spChg>
        <pc:spChg chg="mod">
          <ac:chgData name="Aurelien Domont" userId="6da7715ce44349b3" providerId="LiveId" clId="{1F031B4F-7A08-47B6-9BBE-3BE595172CA2}" dt="2023-02-15T05:50:28.775" v="1024" actId="207"/>
          <ac:spMkLst>
            <pc:docMk/>
            <pc:sldMk cId="2227034554" sldId="2801"/>
            <ac:spMk id="8" creationId="{5F2AB727-F4EF-ACA5-D3E1-E42F1C7976AE}"/>
          </ac:spMkLst>
        </pc:spChg>
        <pc:spChg chg="mod">
          <ac:chgData name="Aurelien Domont" userId="6da7715ce44349b3" providerId="LiveId" clId="{1F031B4F-7A08-47B6-9BBE-3BE595172CA2}" dt="2023-02-15T05:50:37.295" v="1026" actId="114"/>
          <ac:spMkLst>
            <pc:docMk/>
            <pc:sldMk cId="2227034554" sldId="2801"/>
            <ac:spMk id="50" creationId="{F8AFE659-93EE-DE1A-EA33-3E9588101A6D}"/>
          </ac:spMkLst>
        </pc:spChg>
        <pc:spChg chg="mod">
          <ac:chgData name="Aurelien Domont" userId="6da7715ce44349b3" providerId="LiveId" clId="{1F031B4F-7A08-47B6-9BBE-3BE595172CA2}" dt="2023-02-15T05:50:37.295" v="1026" actId="114"/>
          <ac:spMkLst>
            <pc:docMk/>
            <pc:sldMk cId="2227034554" sldId="2801"/>
            <ac:spMk id="51" creationId="{C19DB103-C266-8C37-1C45-BD2DE0F4D398}"/>
          </ac:spMkLst>
        </pc:spChg>
        <pc:spChg chg="mod">
          <ac:chgData name="Aurelien Domont" userId="6da7715ce44349b3" providerId="LiveId" clId="{1F031B4F-7A08-47B6-9BBE-3BE595172CA2}" dt="2023-02-15T05:50:37.295" v="1026" actId="114"/>
          <ac:spMkLst>
            <pc:docMk/>
            <pc:sldMk cId="2227034554" sldId="2801"/>
            <ac:spMk id="52" creationId="{366EA6B5-9C44-B141-2088-12BEDCB8DB11}"/>
          </ac:spMkLst>
        </pc:spChg>
        <pc:spChg chg="mod">
          <ac:chgData name="Aurelien Domont" userId="6da7715ce44349b3" providerId="LiveId" clId="{1F031B4F-7A08-47B6-9BBE-3BE595172CA2}" dt="2023-02-15T05:52:28.502" v="1033" actId="108"/>
          <ac:spMkLst>
            <pc:docMk/>
            <pc:sldMk cId="2227034554" sldId="2801"/>
            <ac:spMk id="53" creationId="{EC8A1FBC-F97C-B5B9-E5A4-780A7916194C}"/>
          </ac:spMkLst>
        </pc:spChg>
        <pc:spChg chg="mod">
          <ac:chgData name="Aurelien Domont" userId="6da7715ce44349b3" providerId="LiveId" clId="{1F031B4F-7A08-47B6-9BBE-3BE595172CA2}" dt="2023-02-15T05:52:24.629" v="1032" actId="179"/>
          <ac:spMkLst>
            <pc:docMk/>
            <pc:sldMk cId="2227034554" sldId="2801"/>
            <ac:spMk id="55" creationId="{44707634-BC1D-F003-447D-CF7239EBFF97}"/>
          </ac:spMkLst>
        </pc:spChg>
      </pc:sldChg>
      <pc:sldChg chg="addSp delSp modSp mod">
        <pc:chgData name="Aurelien Domont" userId="6da7715ce44349b3" providerId="LiveId" clId="{1F031B4F-7A08-47B6-9BBE-3BE595172CA2}" dt="2023-02-15T05:55:50.171" v="1039"/>
        <pc:sldMkLst>
          <pc:docMk/>
          <pc:sldMk cId="1555481823" sldId="2802"/>
        </pc:sldMkLst>
        <pc:spChg chg="add mod">
          <ac:chgData name="Aurelien Domont" userId="6da7715ce44349b3" providerId="LiveId" clId="{1F031B4F-7A08-47B6-9BBE-3BE595172CA2}" dt="2023-02-15T05:55:50.171" v="1039"/>
          <ac:spMkLst>
            <pc:docMk/>
            <pc:sldMk cId="1555481823" sldId="2802"/>
            <ac:spMk id="2" creationId="{D72FE072-4FE2-6CE0-BFCA-646A54ADFCAA}"/>
          </ac:spMkLst>
        </pc:spChg>
        <pc:spChg chg="del">
          <ac:chgData name="Aurelien Domont" userId="6da7715ce44349b3" providerId="LiveId" clId="{1F031B4F-7A08-47B6-9BBE-3BE595172CA2}" dt="2023-02-15T05:55:50.046" v="1038" actId="478"/>
          <ac:spMkLst>
            <pc:docMk/>
            <pc:sldMk cId="1555481823" sldId="2802"/>
            <ac:spMk id="3" creationId="{CE2529A3-BA97-486F-9E02-8DFAAA7D8D38}"/>
          </ac:spMkLst>
        </pc:spChg>
      </pc:sldChg>
      <pc:sldChg chg="addSp delSp modSp mod">
        <pc:chgData name="Aurelien Domont" userId="6da7715ce44349b3" providerId="LiveId" clId="{1F031B4F-7A08-47B6-9BBE-3BE595172CA2}" dt="2023-02-15T05:56:00.027" v="1041"/>
        <pc:sldMkLst>
          <pc:docMk/>
          <pc:sldMk cId="1956543247" sldId="2803"/>
        </pc:sldMkLst>
        <pc:spChg chg="del">
          <ac:chgData name="Aurelien Domont" userId="6da7715ce44349b3" providerId="LiveId" clId="{1F031B4F-7A08-47B6-9BBE-3BE595172CA2}" dt="2023-02-15T05:55:59.901" v="1040" actId="478"/>
          <ac:spMkLst>
            <pc:docMk/>
            <pc:sldMk cId="1956543247" sldId="2803"/>
            <ac:spMk id="3" creationId="{CE2529A3-BA97-486F-9E02-8DFAAA7D8D38}"/>
          </ac:spMkLst>
        </pc:spChg>
        <pc:spChg chg="add mod">
          <ac:chgData name="Aurelien Domont" userId="6da7715ce44349b3" providerId="LiveId" clId="{1F031B4F-7A08-47B6-9BBE-3BE595172CA2}" dt="2023-02-15T05:56:00.027" v="1041"/>
          <ac:spMkLst>
            <pc:docMk/>
            <pc:sldMk cId="1956543247" sldId="2803"/>
            <ac:spMk id="8" creationId="{75B906A9-9189-B857-FAA3-D667E4F67165}"/>
          </ac:spMkLst>
        </pc:spChg>
      </pc:sldChg>
      <pc:sldChg chg="modSp mod">
        <pc:chgData name="Aurelien Domont" userId="6da7715ce44349b3" providerId="LiveId" clId="{1F031B4F-7A08-47B6-9BBE-3BE595172CA2}" dt="2023-02-15T06:16:23.066" v="1096" actId="14100"/>
        <pc:sldMkLst>
          <pc:docMk/>
          <pc:sldMk cId="1173003416" sldId="2805"/>
        </pc:sldMkLst>
        <pc:spChg chg="mod">
          <ac:chgData name="Aurelien Domont" userId="6da7715ce44349b3" providerId="LiveId" clId="{1F031B4F-7A08-47B6-9BBE-3BE595172CA2}" dt="2023-02-15T06:16:23.066" v="1096" actId="14100"/>
          <ac:spMkLst>
            <pc:docMk/>
            <pc:sldMk cId="1173003416" sldId="2805"/>
            <ac:spMk id="29" creationId="{FD6B5470-BAE1-F911-E9BD-7BB571B85D12}"/>
          </ac:spMkLst>
        </pc:spChg>
        <pc:spChg chg="mod">
          <ac:chgData name="Aurelien Domont" userId="6da7715ce44349b3" providerId="LiveId" clId="{1F031B4F-7A08-47B6-9BBE-3BE595172CA2}" dt="2023-02-15T06:15:23.249" v="1095" actId="14100"/>
          <ac:spMkLst>
            <pc:docMk/>
            <pc:sldMk cId="1173003416" sldId="2805"/>
            <ac:spMk id="34" creationId="{7FF0B41E-ED6D-47A2-E81C-7C23C6C7AD67}"/>
          </ac:spMkLst>
        </pc:spChg>
      </pc:sldChg>
      <pc:sldChg chg="modSp mod">
        <pc:chgData name="Aurelien Domont" userId="6da7715ce44349b3" providerId="LiveId" clId="{1F031B4F-7A08-47B6-9BBE-3BE595172CA2}" dt="2023-02-14T07:08:49.297" v="517" actId="313"/>
        <pc:sldMkLst>
          <pc:docMk/>
          <pc:sldMk cId="1453306358" sldId="2807"/>
        </pc:sldMkLst>
        <pc:spChg chg="mod">
          <ac:chgData name="Aurelien Domont" userId="6da7715ce44349b3" providerId="LiveId" clId="{1F031B4F-7A08-47B6-9BBE-3BE595172CA2}" dt="2023-02-14T07:08:49.297" v="517" actId="313"/>
          <ac:spMkLst>
            <pc:docMk/>
            <pc:sldMk cId="1453306358" sldId="2807"/>
            <ac:spMk id="10" creationId="{14C9DC0B-5AE6-19E6-58CC-5F88F5C37B58}"/>
          </ac:spMkLst>
        </pc:spChg>
      </pc:sldChg>
      <pc:sldChg chg="add del">
        <pc:chgData name="Aurelien Domont" userId="6da7715ce44349b3" providerId="LiveId" clId="{1F031B4F-7A08-47B6-9BBE-3BE595172CA2}" dt="2023-02-15T23:32:02.194" v="1138" actId="47"/>
        <pc:sldMkLst>
          <pc:docMk/>
          <pc:sldMk cId="3628312707" sldId="2808"/>
        </pc:sldMkLst>
      </pc:sldChg>
      <pc:sldChg chg="addSp modSp new mod">
        <pc:chgData name="Aurelien Domont" userId="6da7715ce44349b3" providerId="LiveId" clId="{1F031B4F-7A08-47B6-9BBE-3BE595172CA2}" dt="2023-02-16T02:21:34.400" v="3100" actId="400"/>
        <pc:sldMkLst>
          <pc:docMk/>
          <pc:sldMk cId="1501941711" sldId="2809"/>
        </pc:sldMkLst>
        <pc:spChg chg="add mod">
          <ac:chgData name="Aurelien Domont" userId="6da7715ce44349b3" providerId="LiveId" clId="{1F031B4F-7A08-47B6-9BBE-3BE595172CA2}" dt="2023-02-16T02:21:34.400" v="3100" actId="400"/>
          <ac:spMkLst>
            <pc:docMk/>
            <pc:sldMk cId="1501941711" sldId="2809"/>
            <ac:spMk id="3" creationId="{9C697653-603F-5519-9F53-638B4674B2BC}"/>
          </ac:spMkLst>
        </pc:spChg>
        <pc:spChg chg="add mod ord">
          <ac:chgData name="Aurelien Domont" userId="6da7715ce44349b3" providerId="LiveId" clId="{1F031B4F-7A08-47B6-9BBE-3BE595172CA2}" dt="2023-02-15T23:25:59.647" v="1103" actId="167"/>
          <ac:spMkLst>
            <pc:docMk/>
            <pc:sldMk cId="1501941711" sldId="2809"/>
            <ac:spMk id="4" creationId="{9EFA310D-1893-422A-6CBE-C20E35D132E1}"/>
          </ac:spMkLst>
        </pc:spChg>
      </pc:sldChg>
      <pc:sldChg chg="modSp add mod">
        <pc:chgData name="Aurelien Domont" userId="6da7715ce44349b3" providerId="LiveId" clId="{1F031B4F-7A08-47B6-9BBE-3BE595172CA2}" dt="2023-02-15T03:32:36.930" v="961"/>
        <pc:sldMkLst>
          <pc:docMk/>
          <pc:sldMk cId="4037376043" sldId="2810"/>
        </pc:sldMkLst>
        <pc:spChg chg="mod">
          <ac:chgData name="Aurelien Domont" userId="6da7715ce44349b3" providerId="LiveId" clId="{1F031B4F-7A08-47B6-9BBE-3BE595172CA2}" dt="2023-02-15T03:32:10.067" v="935" actId="1076"/>
          <ac:spMkLst>
            <pc:docMk/>
            <pc:sldMk cId="4037376043" sldId="2810"/>
            <ac:spMk id="7" creationId="{0DD006C0-D444-F202-F0AB-2FEA83A04F92}"/>
          </ac:spMkLst>
        </pc:spChg>
        <pc:spChg chg="mod">
          <ac:chgData name="Aurelien Domont" userId="6da7715ce44349b3" providerId="LiveId" clId="{1F031B4F-7A08-47B6-9BBE-3BE595172CA2}" dt="2023-02-15T03:32:12.773" v="936"/>
          <ac:spMkLst>
            <pc:docMk/>
            <pc:sldMk cId="4037376043" sldId="2810"/>
            <ac:spMk id="8" creationId="{969592C2-19C1-D00D-9B5D-B9EDF96424C2}"/>
          </ac:spMkLst>
        </pc:spChg>
        <pc:spChg chg="mod">
          <ac:chgData name="Aurelien Domont" userId="6da7715ce44349b3" providerId="LiveId" clId="{1F031B4F-7A08-47B6-9BBE-3BE595172CA2}" dt="2023-02-15T03:32:14.126" v="937"/>
          <ac:spMkLst>
            <pc:docMk/>
            <pc:sldMk cId="4037376043" sldId="2810"/>
            <ac:spMk id="9" creationId="{F0C6D7C0-9D53-7DDD-643C-3B1EDB675231}"/>
          </ac:spMkLst>
        </pc:spChg>
        <pc:spChg chg="mod">
          <ac:chgData name="Aurelien Domont" userId="6da7715ce44349b3" providerId="LiveId" clId="{1F031B4F-7A08-47B6-9BBE-3BE595172CA2}" dt="2023-02-15T03:32:16.047" v="938"/>
          <ac:spMkLst>
            <pc:docMk/>
            <pc:sldMk cId="4037376043" sldId="2810"/>
            <ac:spMk id="10" creationId="{293CC1FC-19ED-7FA8-67C8-0BCA7B4D1572}"/>
          </ac:spMkLst>
        </pc:spChg>
        <pc:spChg chg="mod">
          <ac:chgData name="Aurelien Domont" userId="6da7715ce44349b3" providerId="LiveId" clId="{1F031B4F-7A08-47B6-9BBE-3BE595172CA2}" dt="2023-02-15T03:32:17.826" v="939"/>
          <ac:spMkLst>
            <pc:docMk/>
            <pc:sldMk cId="4037376043" sldId="2810"/>
            <ac:spMk id="11" creationId="{6308CFE5-861E-F912-358D-FC331F4473BF}"/>
          </ac:spMkLst>
        </pc:spChg>
        <pc:spChg chg="mod">
          <ac:chgData name="Aurelien Domont" userId="6da7715ce44349b3" providerId="LiveId" clId="{1F031B4F-7A08-47B6-9BBE-3BE595172CA2}" dt="2023-02-15T03:31:40.781" v="865" actId="20577"/>
          <ac:spMkLst>
            <pc:docMk/>
            <pc:sldMk cId="4037376043" sldId="2810"/>
            <ac:spMk id="16" creationId="{6C2BB713-9637-4B9B-938F-E9768876782A}"/>
          </ac:spMkLst>
        </pc:spChg>
        <pc:spChg chg="mod">
          <ac:chgData name="Aurelien Domont" userId="6da7715ce44349b3" providerId="LiveId" clId="{1F031B4F-7A08-47B6-9BBE-3BE595172CA2}" dt="2023-02-15T03:31:50.032" v="891" actId="20577"/>
          <ac:spMkLst>
            <pc:docMk/>
            <pc:sldMk cId="4037376043" sldId="2810"/>
            <ac:spMk id="26" creationId="{A029AC71-1F6B-656D-6611-0A5DAFF14871}"/>
          </ac:spMkLst>
        </pc:spChg>
        <pc:spChg chg="mod">
          <ac:chgData name="Aurelien Domont" userId="6da7715ce44349b3" providerId="LiveId" clId="{1F031B4F-7A08-47B6-9BBE-3BE595172CA2}" dt="2023-02-15T03:32:29.565" v="957" actId="20577"/>
          <ac:spMkLst>
            <pc:docMk/>
            <pc:sldMk cId="4037376043" sldId="2810"/>
            <ac:spMk id="27" creationId="{7860E30E-80E6-D6F9-EDAD-74B9507269C2}"/>
          </ac:spMkLst>
        </pc:spChg>
        <pc:spChg chg="mod">
          <ac:chgData name="Aurelien Domont" userId="6da7715ce44349b3" providerId="LiveId" clId="{1F031B4F-7A08-47B6-9BBE-3BE595172CA2}" dt="2023-02-15T03:32:32.203" v="958"/>
          <ac:spMkLst>
            <pc:docMk/>
            <pc:sldMk cId="4037376043" sldId="2810"/>
            <ac:spMk id="28" creationId="{EC594A61-1E37-D873-3040-23196614DE82}"/>
          </ac:spMkLst>
        </pc:spChg>
        <pc:spChg chg="mod">
          <ac:chgData name="Aurelien Domont" userId="6da7715ce44349b3" providerId="LiveId" clId="{1F031B4F-7A08-47B6-9BBE-3BE595172CA2}" dt="2023-02-15T03:32:33.646" v="959"/>
          <ac:spMkLst>
            <pc:docMk/>
            <pc:sldMk cId="4037376043" sldId="2810"/>
            <ac:spMk id="29" creationId="{64A1782D-465A-F770-4044-77554CEC4C28}"/>
          </ac:spMkLst>
        </pc:spChg>
        <pc:spChg chg="mod">
          <ac:chgData name="Aurelien Domont" userId="6da7715ce44349b3" providerId="LiveId" clId="{1F031B4F-7A08-47B6-9BBE-3BE595172CA2}" dt="2023-02-15T03:32:35.157" v="960"/>
          <ac:spMkLst>
            <pc:docMk/>
            <pc:sldMk cId="4037376043" sldId="2810"/>
            <ac:spMk id="46" creationId="{22AE7747-F167-8B73-5D46-E8B744262829}"/>
          </ac:spMkLst>
        </pc:spChg>
        <pc:spChg chg="mod">
          <ac:chgData name="Aurelien Domont" userId="6da7715ce44349b3" providerId="LiveId" clId="{1F031B4F-7A08-47B6-9BBE-3BE595172CA2}" dt="2023-02-15T03:32:36.930" v="961"/>
          <ac:spMkLst>
            <pc:docMk/>
            <pc:sldMk cId="4037376043" sldId="2810"/>
            <ac:spMk id="47" creationId="{C28C14FA-A68C-41E2-394D-C31D1292E6F7}"/>
          </ac:spMkLst>
        </pc:spChg>
        <pc:cxnChg chg="mod">
          <ac:chgData name="Aurelien Domont" userId="6da7715ce44349b3" providerId="LiveId" clId="{1F031B4F-7A08-47B6-9BBE-3BE595172CA2}" dt="2023-02-15T03:32:10.067" v="935" actId="1076"/>
          <ac:cxnSpMkLst>
            <pc:docMk/>
            <pc:sldMk cId="4037376043" sldId="2810"/>
            <ac:cxnSpMk id="51" creationId="{752DCDD9-E283-9F99-401E-E3A63DA36473}"/>
          </ac:cxnSpMkLst>
        </pc:cxnChg>
        <pc:cxnChg chg="mod">
          <ac:chgData name="Aurelien Domont" userId="6da7715ce44349b3" providerId="LiveId" clId="{1F031B4F-7A08-47B6-9BBE-3BE595172CA2}" dt="2023-02-15T03:32:10.067" v="935" actId="1076"/>
          <ac:cxnSpMkLst>
            <pc:docMk/>
            <pc:sldMk cId="4037376043" sldId="2810"/>
            <ac:cxnSpMk id="79" creationId="{2D6986D8-486F-0473-1173-BD84BAB3B9AA}"/>
          </ac:cxnSpMkLst>
        </pc:cxnChg>
      </pc:sldChg>
      <pc:sldChg chg="modSp add mod">
        <pc:chgData name="Aurelien Domont" userId="6da7715ce44349b3" providerId="LiveId" clId="{1F031B4F-7A08-47B6-9BBE-3BE595172CA2}" dt="2023-02-15T23:30:18.260" v="1125" actId="1035"/>
        <pc:sldMkLst>
          <pc:docMk/>
          <pc:sldMk cId="880102048" sldId="2811"/>
        </pc:sldMkLst>
        <pc:spChg chg="mod">
          <ac:chgData name="Aurelien Domont" userId="6da7715ce44349b3" providerId="LiveId" clId="{1F031B4F-7A08-47B6-9BBE-3BE595172CA2}" dt="2023-02-15T23:30:07.772" v="1122" actId="14100"/>
          <ac:spMkLst>
            <pc:docMk/>
            <pc:sldMk cId="880102048" sldId="2811"/>
            <ac:spMk id="4" creationId="{DFDABEBC-4CDA-DE67-F7EF-3C9B292D3796}"/>
          </ac:spMkLst>
        </pc:spChg>
        <pc:spChg chg="mod">
          <ac:chgData name="Aurelien Domont" userId="6da7715ce44349b3" providerId="LiveId" clId="{1F031B4F-7A08-47B6-9BBE-3BE595172CA2}" dt="2023-02-15T23:30:18.260" v="1125" actId="1035"/>
          <ac:spMkLst>
            <pc:docMk/>
            <pc:sldMk cId="880102048" sldId="2811"/>
            <ac:spMk id="8" creationId="{72A52A59-2B0C-B438-B79F-EAD1EBFD5A88}"/>
          </ac:spMkLst>
        </pc:spChg>
        <pc:spChg chg="mod">
          <ac:chgData name="Aurelien Domont" userId="6da7715ce44349b3" providerId="LiveId" clId="{1F031B4F-7A08-47B6-9BBE-3BE595172CA2}" dt="2023-02-15T23:28:29.474" v="1111" actId="207"/>
          <ac:spMkLst>
            <pc:docMk/>
            <pc:sldMk cId="880102048" sldId="2811"/>
            <ac:spMk id="9" creationId="{0F4B39A0-2803-47D9-93AE-F99798C91F06}"/>
          </ac:spMkLst>
        </pc:spChg>
        <pc:spChg chg="mod">
          <ac:chgData name="Aurelien Domont" userId="6da7715ce44349b3" providerId="LiveId" clId="{1F031B4F-7A08-47B6-9BBE-3BE595172CA2}" dt="2023-02-15T23:30:18.260" v="1125" actId="1035"/>
          <ac:spMkLst>
            <pc:docMk/>
            <pc:sldMk cId="880102048" sldId="2811"/>
            <ac:spMk id="14" creationId="{85DB7984-08ED-9AB7-9778-BAC9EF667E17}"/>
          </ac:spMkLst>
        </pc:spChg>
        <pc:spChg chg="mod">
          <ac:chgData name="Aurelien Domont" userId="6da7715ce44349b3" providerId="LiveId" clId="{1F031B4F-7A08-47B6-9BBE-3BE595172CA2}" dt="2023-02-15T23:28:17.303" v="1108"/>
          <ac:spMkLst>
            <pc:docMk/>
            <pc:sldMk cId="880102048" sldId="2811"/>
            <ac:spMk id="16" creationId="{6C2BB713-9637-4B9B-938F-E9768876782A}"/>
          </ac:spMkLst>
        </pc:spChg>
        <pc:spChg chg="mod">
          <ac:chgData name="Aurelien Domont" userId="6da7715ce44349b3" providerId="LiveId" clId="{1F031B4F-7A08-47B6-9BBE-3BE595172CA2}" dt="2023-02-15T23:30:18.260" v="1125" actId="1035"/>
          <ac:spMkLst>
            <pc:docMk/>
            <pc:sldMk cId="880102048" sldId="2811"/>
            <ac:spMk id="21" creationId="{65195D31-8CD1-9CAD-EDAB-5DC5BCEFF793}"/>
          </ac:spMkLst>
        </pc:spChg>
        <pc:spChg chg="mod">
          <ac:chgData name="Aurelien Domont" userId="6da7715ce44349b3" providerId="LiveId" clId="{1F031B4F-7A08-47B6-9BBE-3BE595172CA2}" dt="2023-02-15T23:30:18.260" v="1125" actId="1035"/>
          <ac:spMkLst>
            <pc:docMk/>
            <pc:sldMk cId="880102048" sldId="2811"/>
            <ac:spMk id="26" creationId="{60AA3177-69A2-8959-DB8F-FDAAC70C5894}"/>
          </ac:spMkLst>
        </pc:spChg>
        <pc:spChg chg="mod">
          <ac:chgData name="Aurelien Domont" userId="6da7715ce44349b3" providerId="LiveId" clId="{1F031B4F-7A08-47B6-9BBE-3BE595172CA2}" dt="2023-02-15T23:30:18.260" v="1125" actId="1035"/>
          <ac:spMkLst>
            <pc:docMk/>
            <pc:sldMk cId="880102048" sldId="2811"/>
            <ac:spMk id="29" creationId="{8F984EF8-19B2-4B5E-98EC-433CCE26E2A7}"/>
          </ac:spMkLst>
        </pc:spChg>
        <pc:spChg chg="mod">
          <ac:chgData name="Aurelien Domont" userId="6da7715ce44349b3" providerId="LiveId" clId="{1F031B4F-7A08-47B6-9BBE-3BE595172CA2}" dt="2023-02-15T23:28:38.094" v="1113" actId="207"/>
          <ac:spMkLst>
            <pc:docMk/>
            <pc:sldMk cId="880102048" sldId="2811"/>
            <ac:spMk id="31" creationId="{1C1B78F5-CE09-4A06-8F1D-30227B5D6E15}"/>
          </ac:spMkLst>
        </pc:spChg>
      </pc:sldChg>
      <pc:sldChg chg="add del ord">
        <pc:chgData name="Aurelien Domont" userId="6da7715ce44349b3" providerId="LiveId" clId="{1F031B4F-7A08-47B6-9BBE-3BE595172CA2}" dt="2023-02-15T23:31:57.108" v="1136" actId="47"/>
        <pc:sldMkLst>
          <pc:docMk/>
          <pc:sldMk cId="1561619226" sldId="2812"/>
        </pc:sldMkLst>
      </pc:sldChg>
      <pc:sldChg chg="modSp add mod">
        <pc:chgData name="Aurelien Domont" userId="6da7715ce44349b3" providerId="LiveId" clId="{1F031B4F-7A08-47B6-9BBE-3BE595172CA2}" dt="2023-02-15T23:44:12.160" v="1379" actId="207"/>
        <pc:sldMkLst>
          <pc:docMk/>
          <pc:sldMk cId="11208037" sldId="2813"/>
        </pc:sldMkLst>
        <pc:spChg chg="mod">
          <ac:chgData name="Aurelien Domont" userId="6da7715ce44349b3" providerId="LiveId" clId="{1F031B4F-7A08-47B6-9BBE-3BE595172CA2}" dt="2023-02-15T23:44:12.160" v="1379" actId="207"/>
          <ac:spMkLst>
            <pc:docMk/>
            <pc:sldMk cId="11208037" sldId="2813"/>
            <ac:spMk id="14" creationId="{85DB7984-08ED-9AB7-9778-BAC9EF667E17}"/>
          </ac:spMkLst>
        </pc:spChg>
        <pc:spChg chg="mod">
          <ac:chgData name="Aurelien Domont" userId="6da7715ce44349b3" providerId="LiveId" clId="{1F031B4F-7A08-47B6-9BBE-3BE595172CA2}" dt="2023-02-15T23:44:08.825" v="1378" actId="207"/>
          <ac:spMkLst>
            <pc:docMk/>
            <pc:sldMk cId="11208037" sldId="2813"/>
            <ac:spMk id="31" creationId="{1C1B78F5-CE09-4A06-8F1D-30227B5D6E15}"/>
          </ac:spMkLst>
        </pc:spChg>
      </pc:sldChg>
      <pc:sldChg chg="modSp add del mod">
        <pc:chgData name="Aurelien Domont" userId="6da7715ce44349b3" providerId="LiveId" clId="{1F031B4F-7A08-47B6-9BBE-3BE595172CA2}" dt="2023-02-15T23:31:48.841" v="1134" actId="2696"/>
        <pc:sldMkLst>
          <pc:docMk/>
          <pc:sldMk cId="1238142942" sldId="2813"/>
        </pc:sldMkLst>
        <pc:spChg chg="mod">
          <ac:chgData name="Aurelien Domont" userId="6da7715ce44349b3" providerId="LiveId" clId="{1F031B4F-7A08-47B6-9BBE-3BE595172CA2}" dt="2023-02-15T23:31:43.475" v="1133" actId="207"/>
          <ac:spMkLst>
            <pc:docMk/>
            <pc:sldMk cId="1238142942" sldId="2813"/>
            <ac:spMk id="9" creationId="{0F4B39A0-2803-47D9-93AE-F99798C91F06}"/>
          </ac:spMkLst>
        </pc:spChg>
        <pc:spChg chg="mod">
          <ac:chgData name="Aurelien Domont" userId="6da7715ce44349b3" providerId="LiveId" clId="{1F031B4F-7A08-47B6-9BBE-3BE595172CA2}" dt="2023-02-15T23:31:36.097" v="1131" actId="207"/>
          <ac:spMkLst>
            <pc:docMk/>
            <pc:sldMk cId="1238142942" sldId="2813"/>
            <ac:spMk id="31" creationId="{1C1B78F5-CE09-4A06-8F1D-30227B5D6E15}"/>
          </ac:spMkLst>
        </pc:spChg>
      </pc:sldChg>
      <pc:sldChg chg="modSp add mod">
        <pc:chgData name="Aurelien Domont" userId="6da7715ce44349b3" providerId="LiveId" clId="{1F031B4F-7A08-47B6-9BBE-3BE595172CA2}" dt="2023-02-15T23:45:35.731" v="1390" actId="207"/>
        <pc:sldMkLst>
          <pc:docMk/>
          <pc:sldMk cId="2585945969" sldId="2814"/>
        </pc:sldMkLst>
        <pc:spChg chg="mod">
          <ac:chgData name="Aurelien Domont" userId="6da7715ce44349b3" providerId="LiveId" clId="{1F031B4F-7A08-47B6-9BBE-3BE595172CA2}" dt="2023-02-15T23:45:35.731" v="1390" actId="207"/>
          <ac:spMkLst>
            <pc:docMk/>
            <pc:sldMk cId="2585945969" sldId="2814"/>
            <ac:spMk id="14" creationId="{85DB7984-08ED-9AB7-9778-BAC9EF667E17}"/>
          </ac:spMkLst>
        </pc:spChg>
      </pc:sldChg>
      <pc:sldChg chg="modSp add mod">
        <pc:chgData name="Aurelien Domont" userId="6da7715ce44349b3" providerId="LiveId" clId="{1F031B4F-7A08-47B6-9BBE-3BE595172CA2}" dt="2023-02-15T23:45:39.675" v="1391" actId="207"/>
        <pc:sldMkLst>
          <pc:docMk/>
          <pc:sldMk cId="1295088674" sldId="2815"/>
        </pc:sldMkLst>
        <pc:spChg chg="mod">
          <ac:chgData name="Aurelien Domont" userId="6da7715ce44349b3" providerId="LiveId" clId="{1F031B4F-7A08-47B6-9BBE-3BE595172CA2}" dt="2023-02-15T23:45:39.675" v="1391" actId="207"/>
          <ac:spMkLst>
            <pc:docMk/>
            <pc:sldMk cId="1295088674" sldId="2815"/>
            <ac:spMk id="14" creationId="{85DB7984-08ED-9AB7-9778-BAC9EF667E17}"/>
          </ac:spMkLst>
        </pc:spChg>
      </pc:sldChg>
      <pc:sldChg chg="modSp add mod">
        <pc:chgData name="Aurelien Domont" userId="6da7715ce44349b3" providerId="LiveId" clId="{1F031B4F-7A08-47B6-9BBE-3BE595172CA2}" dt="2023-02-15T23:45:46.651" v="1392" actId="207"/>
        <pc:sldMkLst>
          <pc:docMk/>
          <pc:sldMk cId="910304191" sldId="2816"/>
        </pc:sldMkLst>
        <pc:spChg chg="mod">
          <ac:chgData name="Aurelien Domont" userId="6da7715ce44349b3" providerId="LiveId" clId="{1F031B4F-7A08-47B6-9BBE-3BE595172CA2}" dt="2023-02-15T23:45:46.651" v="1392" actId="207"/>
          <ac:spMkLst>
            <pc:docMk/>
            <pc:sldMk cId="910304191" sldId="2816"/>
            <ac:spMk id="14" creationId="{85DB7984-08ED-9AB7-9778-BAC9EF667E17}"/>
          </ac:spMkLst>
        </pc:spChg>
      </pc:sldChg>
      <pc:sldChg chg="modSp add mod">
        <pc:chgData name="Aurelien Domont" userId="6da7715ce44349b3" providerId="LiveId" clId="{1F031B4F-7A08-47B6-9BBE-3BE595172CA2}" dt="2023-02-15T23:45:50.036" v="1393" actId="207"/>
        <pc:sldMkLst>
          <pc:docMk/>
          <pc:sldMk cId="2470133787" sldId="2817"/>
        </pc:sldMkLst>
        <pc:spChg chg="mod">
          <ac:chgData name="Aurelien Domont" userId="6da7715ce44349b3" providerId="LiveId" clId="{1F031B4F-7A08-47B6-9BBE-3BE595172CA2}" dt="2023-02-15T23:45:50.036" v="1393" actId="207"/>
          <ac:spMkLst>
            <pc:docMk/>
            <pc:sldMk cId="2470133787" sldId="2817"/>
            <ac:spMk id="14" creationId="{85DB7984-08ED-9AB7-9778-BAC9EF667E17}"/>
          </ac:spMkLst>
        </pc:spChg>
      </pc:sldChg>
      <pc:sldChg chg="modSp add mod">
        <pc:chgData name="Aurelien Domont" userId="6da7715ce44349b3" providerId="LiveId" clId="{1F031B4F-7A08-47B6-9BBE-3BE595172CA2}" dt="2023-02-15T23:45:54.503" v="1394" actId="207"/>
        <pc:sldMkLst>
          <pc:docMk/>
          <pc:sldMk cId="1781728587" sldId="2818"/>
        </pc:sldMkLst>
        <pc:spChg chg="mod">
          <ac:chgData name="Aurelien Domont" userId="6da7715ce44349b3" providerId="LiveId" clId="{1F031B4F-7A08-47B6-9BBE-3BE595172CA2}" dt="2023-02-15T23:45:54.503" v="1394" actId="207"/>
          <ac:spMkLst>
            <pc:docMk/>
            <pc:sldMk cId="1781728587" sldId="2818"/>
            <ac:spMk id="14" creationId="{85DB7984-08ED-9AB7-9778-BAC9EF667E17}"/>
          </ac:spMkLst>
        </pc:spChg>
      </pc:sldChg>
      <pc:sldChg chg="modSp add mod">
        <pc:chgData name="Aurelien Domont" userId="6da7715ce44349b3" providerId="LiveId" clId="{1F031B4F-7A08-47B6-9BBE-3BE595172CA2}" dt="2023-02-15T23:45:59.082" v="1395" actId="207"/>
        <pc:sldMkLst>
          <pc:docMk/>
          <pc:sldMk cId="754206789" sldId="2819"/>
        </pc:sldMkLst>
        <pc:spChg chg="mod">
          <ac:chgData name="Aurelien Domont" userId="6da7715ce44349b3" providerId="LiveId" clId="{1F031B4F-7A08-47B6-9BBE-3BE595172CA2}" dt="2023-02-15T23:45:59.082" v="1395" actId="207"/>
          <ac:spMkLst>
            <pc:docMk/>
            <pc:sldMk cId="754206789" sldId="2819"/>
            <ac:spMk id="14" creationId="{85DB7984-08ED-9AB7-9778-BAC9EF667E17}"/>
          </ac:spMkLst>
        </pc:spChg>
      </pc:sldChg>
      <pc:sldChg chg="modSp add mod">
        <pc:chgData name="Aurelien Domont" userId="6da7715ce44349b3" providerId="LiveId" clId="{1F031B4F-7A08-47B6-9BBE-3BE595172CA2}" dt="2023-02-15T23:46:06.801" v="1396" actId="207"/>
        <pc:sldMkLst>
          <pc:docMk/>
          <pc:sldMk cId="1726433618" sldId="2820"/>
        </pc:sldMkLst>
        <pc:spChg chg="mod">
          <ac:chgData name="Aurelien Domont" userId="6da7715ce44349b3" providerId="LiveId" clId="{1F031B4F-7A08-47B6-9BBE-3BE595172CA2}" dt="2023-02-15T23:46:06.801" v="1396" actId="207"/>
          <ac:spMkLst>
            <pc:docMk/>
            <pc:sldMk cId="1726433618" sldId="2820"/>
            <ac:spMk id="14" creationId="{85DB7984-08ED-9AB7-9778-BAC9EF667E17}"/>
          </ac:spMkLst>
        </pc:spChg>
      </pc:sldChg>
      <pc:sldChg chg="add del">
        <pc:chgData name="Aurelien Domont" userId="6da7715ce44349b3" providerId="LiveId" clId="{1F031B4F-7A08-47B6-9BBE-3BE595172CA2}" dt="2023-02-15T23:46:36.549" v="1400" actId="47"/>
        <pc:sldMkLst>
          <pc:docMk/>
          <pc:sldMk cId="2456829057" sldId="2821"/>
        </pc:sldMkLst>
      </pc:sldChg>
      <pc:sldChg chg="add del">
        <pc:chgData name="Aurelien Domont" userId="6da7715ce44349b3" providerId="LiveId" clId="{1F031B4F-7A08-47B6-9BBE-3BE595172CA2}" dt="2023-02-15T23:47:10.367" v="1405" actId="47"/>
        <pc:sldMkLst>
          <pc:docMk/>
          <pc:sldMk cId="3782281306" sldId="2822"/>
        </pc:sldMkLst>
      </pc:sldChg>
      <pc:sldChg chg="modSp add mod">
        <pc:chgData name="Aurelien Domont" userId="6da7715ce44349b3" providerId="LiveId" clId="{1F031B4F-7A08-47B6-9BBE-3BE595172CA2}" dt="2023-02-15T23:47:34.605" v="1412" actId="207"/>
        <pc:sldMkLst>
          <pc:docMk/>
          <pc:sldMk cId="204392000" sldId="2823"/>
        </pc:sldMkLst>
        <pc:spChg chg="mod">
          <ac:chgData name="Aurelien Domont" userId="6da7715ce44349b3" providerId="LiveId" clId="{1F031B4F-7A08-47B6-9BBE-3BE595172CA2}" dt="2023-02-15T23:47:34.605" v="1412" actId="207"/>
          <ac:spMkLst>
            <pc:docMk/>
            <pc:sldMk cId="204392000" sldId="2823"/>
            <ac:spMk id="14" creationId="{85DB7984-08ED-9AB7-9778-BAC9EF667E17}"/>
          </ac:spMkLst>
        </pc:spChg>
      </pc:sldChg>
      <pc:sldChg chg="modSp add mod">
        <pc:chgData name="Aurelien Domont" userId="6da7715ce44349b3" providerId="LiveId" clId="{1F031B4F-7A08-47B6-9BBE-3BE595172CA2}" dt="2023-02-15T23:47:38.612" v="1413" actId="207"/>
        <pc:sldMkLst>
          <pc:docMk/>
          <pc:sldMk cId="1991075035" sldId="2824"/>
        </pc:sldMkLst>
        <pc:spChg chg="mod">
          <ac:chgData name="Aurelien Domont" userId="6da7715ce44349b3" providerId="LiveId" clId="{1F031B4F-7A08-47B6-9BBE-3BE595172CA2}" dt="2023-02-15T23:47:38.612" v="1413" actId="207"/>
          <ac:spMkLst>
            <pc:docMk/>
            <pc:sldMk cId="1991075035" sldId="2824"/>
            <ac:spMk id="14" creationId="{85DB7984-08ED-9AB7-9778-BAC9EF667E17}"/>
          </ac:spMkLst>
        </pc:spChg>
      </pc:sldChg>
      <pc:sldChg chg="modSp add mod">
        <pc:chgData name="Aurelien Domont" userId="6da7715ce44349b3" providerId="LiveId" clId="{1F031B4F-7A08-47B6-9BBE-3BE595172CA2}" dt="2023-02-15T23:49:36.462" v="1418" actId="207"/>
        <pc:sldMkLst>
          <pc:docMk/>
          <pc:sldMk cId="3300084978" sldId="2825"/>
        </pc:sldMkLst>
        <pc:spChg chg="mod">
          <ac:chgData name="Aurelien Domont" userId="6da7715ce44349b3" providerId="LiveId" clId="{1F031B4F-7A08-47B6-9BBE-3BE595172CA2}" dt="2023-02-15T23:33:21.174" v="1165" actId="207"/>
          <ac:spMkLst>
            <pc:docMk/>
            <pc:sldMk cId="3300084978" sldId="2825"/>
            <ac:spMk id="9" creationId="{0F4B39A0-2803-47D9-93AE-F99798C91F06}"/>
          </ac:spMkLst>
        </pc:spChg>
        <pc:spChg chg="mod">
          <ac:chgData name="Aurelien Domont" userId="6da7715ce44349b3" providerId="LiveId" clId="{1F031B4F-7A08-47B6-9BBE-3BE595172CA2}" dt="2023-02-15T23:33:18.318" v="1164" actId="207"/>
          <ac:spMkLst>
            <pc:docMk/>
            <pc:sldMk cId="3300084978" sldId="2825"/>
            <ac:spMk id="12" creationId="{B9BBA604-AEF4-4807-AD42-75399F0043F4}"/>
          </ac:spMkLst>
        </pc:spChg>
        <pc:spChg chg="mod">
          <ac:chgData name="Aurelien Domont" userId="6da7715ce44349b3" providerId="LiveId" clId="{1F031B4F-7A08-47B6-9BBE-3BE595172CA2}" dt="2023-02-15T23:49:36.462" v="1418" actId="207"/>
          <ac:spMkLst>
            <pc:docMk/>
            <pc:sldMk cId="3300084978" sldId="2825"/>
            <ac:spMk id="32" creationId="{3BEF6079-F38C-4B82-B044-53A13155F334}"/>
          </ac:spMkLst>
        </pc:spChg>
      </pc:sldChg>
      <pc:sldChg chg="modSp add mod">
        <pc:chgData name="Aurelien Domont" userId="6da7715ce44349b3" providerId="LiveId" clId="{1F031B4F-7A08-47B6-9BBE-3BE595172CA2}" dt="2023-02-15T23:49:57.469" v="1419" actId="207"/>
        <pc:sldMkLst>
          <pc:docMk/>
          <pc:sldMk cId="33718065" sldId="2826"/>
        </pc:sldMkLst>
        <pc:spChg chg="mod">
          <ac:chgData name="Aurelien Domont" userId="6da7715ce44349b3" providerId="LiveId" clId="{1F031B4F-7A08-47B6-9BBE-3BE595172CA2}" dt="2023-02-15T23:49:57.469" v="1419" actId="207"/>
          <ac:spMkLst>
            <pc:docMk/>
            <pc:sldMk cId="33718065" sldId="2826"/>
            <ac:spMk id="8" creationId="{72A52A59-2B0C-B438-B79F-EAD1EBFD5A88}"/>
          </ac:spMkLst>
        </pc:spChg>
      </pc:sldChg>
      <pc:sldChg chg="modSp add mod">
        <pc:chgData name="Aurelien Domont" userId="6da7715ce44349b3" providerId="LiveId" clId="{1F031B4F-7A08-47B6-9BBE-3BE595172CA2}" dt="2023-02-15T23:50:03.428" v="1420" actId="207"/>
        <pc:sldMkLst>
          <pc:docMk/>
          <pc:sldMk cId="392799466" sldId="2827"/>
        </pc:sldMkLst>
        <pc:spChg chg="mod">
          <ac:chgData name="Aurelien Domont" userId="6da7715ce44349b3" providerId="LiveId" clId="{1F031B4F-7A08-47B6-9BBE-3BE595172CA2}" dt="2023-02-15T23:50:03.428" v="1420" actId="207"/>
          <ac:spMkLst>
            <pc:docMk/>
            <pc:sldMk cId="392799466" sldId="2827"/>
            <ac:spMk id="8" creationId="{72A52A59-2B0C-B438-B79F-EAD1EBFD5A88}"/>
          </ac:spMkLst>
        </pc:spChg>
      </pc:sldChg>
      <pc:sldChg chg="modSp add mod">
        <pc:chgData name="Aurelien Domont" userId="6da7715ce44349b3" providerId="LiveId" clId="{1F031B4F-7A08-47B6-9BBE-3BE595172CA2}" dt="2023-02-15T23:50:08.613" v="1421" actId="207"/>
        <pc:sldMkLst>
          <pc:docMk/>
          <pc:sldMk cId="2219096630" sldId="2828"/>
        </pc:sldMkLst>
        <pc:spChg chg="mod">
          <ac:chgData name="Aurelien Domont" userId="6da7715ce44349b3" providerId="LiveId" clId="{1F031B4F-7A08-47B6-9BBE-3BE595172CA2}" dt="2023-02-15T23:50:08.613" v="1421" actId="207"/>
          <ac:spMkLst>
            <pc:docMk/>
            <pc:sldMk cId="2219096630" sldId="2828"/>
            <ac:spMk id="8" creationId="{72A52A59-2B0C-B438-B79F-EAD1EBFD5A88}"/>
          </ac:spMkLst>
        </pc:spChg>
      </pc:sldChg>
      <pc:sldChg chg="modSp add mod">
        <pc:chgData name="Aurelien Domont" userId="6da7715ce44349b3" providerId="LiveId" clId="{1F031B4F-7A08-47B6-9BBE-3BE595172CA2}" dt="2023-02-15T23:50:13.405" v="1422" actId="207"/>
        <pc:sldMkLst>
          <pc:docMk/>
          <pc:sldMk cId="3873630409" sldId="2829"/>
        </pc:sldMkLst>
        <pc:spChg chg="mod">
          <ac:chgData name="Aurelien Domont" userId="6da7715ce44349b3" providerId="LiveId" clId="{1F031B4F-7A08-47B6-9BBE-3BE595172CA2}" dt="2023-02-15T23:50:13.405" v="1422" actId="207"/>
          <ac:spMkLst>
            <pc:docMk/>
            <pc:sldMk cId="3873630409" sldId="2829"/>
            <ac:spMk id="8" creationId="{72A52A59-2B0C-B438-B79F-EAD1EBFD5A88}"/>
          </ac:spMkLst>
        </pc:spChg>
      </pc:sldChg>
      <pc:sldChg chg="modSp add mod">
        <pc:chgData name="Aurelien Domont" userId="6da7715ce44349b3" providerId="LiveId" clId="{1F031B4F-7A08-47B6-9BBE-3BE595172CA2}" dt="2023-02-15T23:50:19.420" v="1423" actId="207"/>
        <pc:sldMkLst>
          <pc:docMk/>
          <pc:sldMk cId="2587246912" sldId="2830"/>
        </pc:sldMkLst>
        <pc:spChg chg="mod">
          <ac:chgData name="Aurelien Domont" userId="6da7715ce44349b3" providerId="LiveId" clId="{1F031B4F-7A08-47B6-9BBE-3BE595172CA2}" dt="2023-02-15T23:50:19.420" v="1423" actId="207"/>
          <ac:spMkLst>
            <pc:docMk/>
            <pc:sldMk cId="2587246912" sldId="2830"/>
            <ac:spMk id="8" creationId="{72A52A59-2B0C-B438-B79F-EAD1EBFD5A88}"/>
          </ac:spMkLst>
        </pc:spChg>
      </pc:sldChg>
      <pc:sldChg chg="modSp add mod">
        <pc:chgData name="Aurelien Domont" userId="6da7715ce44349b3" providerId="LiveId" clId="{1F031B4F-7A08-47B6-9BBE-3BE595172CA2}" dt="2023-02-15T23:50:23.728" v="1424" actId="207"/>
        <pc:sldMkLst>
          <pc:docMk/>
          <pc:sldMk cId="4207867199" sldId="2831"/>
        </pc:sldMkLst>
        <pc:spChg chg="mod">
          <ac:chgData name="Aurelien Domont" userId="6da7715ce44349b3" providerId="LiveId" clId="{1F031B4F-7A08-47B6-9BBE-3BE595172CA2}" dt="2023-02-15T23:50:23.728" v="1424" actId="207"/>
          <ac:spMkLst>
            <pc:docMk/>
            <pc:sldMk cId="4207867199" sldId="2831"/>
            <ac:spMk id="8" creationId="{72A52A59-2B0C-B438-B79F-EAD1EBFD5A88}"/>
          </ac:spMkLst>
        </pc:spChg>
      </pc:sldChg>
      <pc:sldChg chg="modSp add mod">
        <pc:chgData name="Aurelien Domont" userId="6da7715ce44349b3" providerId="LiveId" clId="{1F031B4F-7A08-47B6-9BBE-3BE595172CA2}" dt="2023-02-15T23:50:27.949" v="1425" actId="207"/>
        <pc:sldMkLst>
          <pc:docMk/>
          <pc:sldMk cId="515077404" sldId="2832"/>
        </pc:sldMkLst>
        <pc:spChg chg="mod">
          <ac:chgData name="Aurelien Domont" userId="6da7715ce44349b3" providerId="LiveId" clId="{1F031B4F-7A08-47B6-9BBE-3BE595172CA2}" dt="2023-02-15T23:50:27.949" v="1425" actId="207"/>
          <ac:spMkLst>
            <pc:docMk/>
            <pc:sldMk cId="515077404" sldId="2832"/>
            <ac:spMk id="8" creationId="{72A52A59-2B0C-B438-B79F-EAD1EBFD5A88}"/>
          </ac:spMkLst>
        </pc:spChg>
      </pc:sldChg>
      <pc:sldChg chg="modSp add mod">
        <pc:chgData name="Aurelien Domont" userId="6da7715ce44349b3" providerId="LiveId" clId="{1F031B4F-7A08-47B6-9BBE-3BE595172CA2}" dt="2023-02-15T23:50:33.043" v="1426" actId="207"/>
        <pc:sldMkLst>
          <pc:docMk/>
          <pc:sldMk cId="1807432079" sldId="2833"/>
        </pc:sldMkLst>
        <pc:spChg chg="mod">
          <ac:chgData name="Aurelien Domont" userId="6da7715ce44349b3" providerId="LiveId" clId="{1F031B4F-7A08-47B6-9BBE-3BE595172CA2}" dt="2023-02-15T23:50:33.043" v="1426" actId="207"/>
          <ac:spMkLst>
            <pc:docMk/>
            <pc:sldMk cId="1807432079" sldId="2833"/>
            <ac:spMk id="8" creationId="{72A52A59-2B0C-B438-B79F-EAD1EBFD5A88}"/>
          </ac:spMkLst>
        </pc:spChg>
      </pc:sldChg>
      <pc:sldChg chg="add del">
        <pc:chgData name="Aurelien Domont" userId="6da7715ce44349b3" providerId="LiveId" clId="{1F031B4F-7A08-47B6-9BBE-3BE595172CA2}" dt="2023-02-15T23:34:28.626" v="1189" actId="47"/>
        <pc:sldMkLst>
          <pc:docMk/>
          <pc:sldMk cId="3322524465" sldId="2834"/>
        </pc:sldMkLst>
      </pc:sldChg>
      <pc:sldChg chg="modSp add mod">
        <pc:chgData name="Aurelien Domont" userId="6da7715ce44349b3" providerId="LiveId" clId="{1F031B4F-7A08-47B6-9BBE-3BE595172CA2}" dt="2023-02-16T00:00:10.591" v="1538" actId="207"/>
        <pc:sldMkLst>
          <pc:docMk/>
          <pc:sldMk cId="448699485" sldId="2835"/>
        </pc:sldMkLst>
        <pc:spChg chg="mod">
          <ac:chgData name="Aurelien Domont" userId="6da7715ce44349b3" providerId="LiveId" clId="{1F031B4F-7A08-47B6-9BBE-3BE595172CA2}" dt="2023-02-15T23:34:11.988" v="1185" actId="207"/>
          <ac:spMkLst>
            <pc:docMk/>
            <pc:sldMk cId="448699485" sldId="2835"/>
            <ac:spMk id="10" creationId="{52524284-CA7D-416E-ADDB-CAB7040B62C4}"/>
          </ac:spMkLst>
        </pc:spChg>
        <pc:spChg chg="mod">
          <ac:chgData name="Aurelien Domont" userId="6da7715ce44349b3" providerId="LiveId" clId="{1F031B4F-7A08-47B6-9BBE-3BE595172CA2}" dt="2023-02-15T23:34:14.743" v="1186" actId="108"/>
          <ac:spMkLst>
            <pc:docMk/>
            <pc:sldMk cId="448699485" sldId="2835"/>
            <ac:spMk id="12" creationId="{B9BBA604-AEF4-4807-AD42-75399F0043F4}"/>
          </ac:spMkLst>
        </pc:spChg>
        <pc:spChg chg="mod">
          <ac:chgData name="Aurelien Domont" userId="6da7715ce44349b3" providerId="LiveId" clId="{1F031B4F-7A08-47B6-9BBE-3BE595172CA2}" dt="2023-02-16T00:00:10.591" v="1538" actId="207"/>
          <ac:spMkLst>
            <pc:docMk/>
            <pc:sldMk cId="448699485" sldId="2835"/>
            <ac:spMk id="21" creationId="{65195D31-8CD1-9CAD-EDAB-5DC5BCEFF793}"/>
          </ac:spMkLst>
        </pc:spChg>
      </pc:sldChg>
      <pc:sldChg chg="modSp add mod">
        <pc:chgData name="Aurelien Domont" userId="6da7715ce44349b3" providerId="LiveId" clId="{1F031B4F-7A08-47B6-9BBE-3BE595172CA2}" dt="2023-02-15T23:59:54.174" v="1537" actId="207"/>
        <pc:sldMkLst>
          <pc:docMk/>
          <pc:sldMk cId="3754344301" sldId="2836"/>
        </pc:sldMkLst>
        <pc:spChg chg="mod">
          <ac:chgData name="Aurelien Domont" userId="6da7715ce44349b3" providerId="LiveId" clId="{1F031B4F-7A08-47B6-9BBE-3BE595172CA2}" dt="2023-02-15T23:59:54.174" v="1537" actId="207"/>
          <ac:spMkLst>
            <pc:docMk/>
            <pc:sldMk cId="3754344301" sldId="2836"/>
            <ac:spMk id="33" creationId="{8260BE05-FEA7-4631-88CD-752AC5C966BA}"/>
          </ac:spMkLst>
        </pc:spChg>
      </pc:sldChg>
      <pc:sldChg chg="modSp add mod">
        <pc:chgData name="Aurelien Domont" userId="6da7715ce44349b3" providerId="LiveId" clId="{1F031B4F-7A08-47B6-9BBE-3BE595172CA2}" dt="2023-02-16T00:00:14.825" v="1539" actId="207"/>
        <pc:sldMkLst>
          <pc:docMk/>
          <pc:sldMk cId="2844622679" sldId="2837"/>
        </pc:sldMkLst>
        <pc:spChg chg="mod">
          <ac:chgData name="Aurelien Domont" userId="6da7715ce44349b3" providerId="LiveId" clId="{1F031B4F-7A08-47B6-9BBE-3BE595172CA2}" dt="2023-02-16T00:00:14.825" v="1539" actId="207"/>
          <ac:spMkLst>
            <pc:docMk/>
            <pc:sldMk cId="2844622679" sldId="2837"/>
            <ac:spMk id="21" creationId="{65195D31-8CD1-9CAD-EDAB-5DC5BCEFF793}"/>
          </ac:spMkLst>
        </pc:spChg>
      </pc:sldChg>
      <pc:sldChg chg="modSp add mod">
        <pc:chgData name="Aurelien Domont" userId="6da7715ce44349b3" providerId="LiveId" clId="{1F031B4F-7A08-47B6-9BBE-3BE595172CA2}" dt="2023-02-16T00:00:18.628" v="1540" actId="207"/>
        <pc:sldMkLst>
          <pc:docMk/>
          <pc:sldMk cId="931108701" sldId="2838"/>
        </pc:sldMkLst>
        <pc:spChg chg="mod">
          <ac:chgData name="Aurelien Domont" userId="6da7715ce44349b3" providerId="LiveId" clId="{1F031B4F-7A08-47B6-9BBE-3BE595172CA2}" dt="2023-02-16T00:00:18.628" v="1540" actId="207"/>
          <ac:spMkLst>
            <pc:docMk/>
            <pc:sldMk cId="931108701" sldId="2838"/>
            <ac:spMk id="21" creationId="{65195D31-8CD1-9CAD-EDAB-5DC5BCEFF793}"/>
          </ac:spMkLst>
        </pc:spChg>
      </pc:sldChg>
      <pc:sldChg chg="modSp add mod">
        <pc:chgData name="Aurelien Domont" userId="6da7715ce44349b3" providerId="LiveId" clId="{1F031B4F-7A08-47B6-9BBE-3BE595172CA2}" dt="2023-02-16T00:00:22.180" v="1541" actId="207"/>
        <pc:sldMkLst>
          <pc:docMk/>
          <pc:sldMk cId="1839749288" sldId="2839"/>
        </pc:sldMkLst>
        <pc:spChg chg="mod">
          <ac:chgData name="Aurelien Domont" userId="6da7715ce44349b3" providerId="LiveId" clId="{1F031B4F-7A08-47B6-9BBE-3BE595172CA2}" dt="2023-02-16T00:00:22.180" v="1541" actId="207"/>
          <ac:spMkLst>
            <pc:docMk/>
            <pc:sldMk cId="1839749288" sldId="2839"/>
            <ac:spMk id="21" creationId="{65195D31-8CD1-9CAD-EDAB-5DC5BCEFF793}"/>
          </ac:spMkLst>
        </pc:spChg>
      </pc:sldChg>
      <pc:sldChg chg="modSp add mod">
        <pc:chgData name="Aurelien Domont" userId="6da7715ce44349b3" providerId="LiveId" clId="{1F031B4F-7A08-47B6-9BBE-3BE595172CA2}" dt="2023-02-16T00:00:25.992" v="1542" actId="207"/>
        <pc:sldMkLst>
          <pc:docMk/>
          <pc:sldMk cId="99299538" sldId="2840"/>
        </pc:sldMkLst>
        <pc:spChg chg="mod">
          <ac:chgData name="Aurelien Domont" userId="6da7715ce44349b3" providerId="LiveId" clId="{1F031B4F-7A08-47B6-9BBE-3BE595172CA2}" dt="2023-02-16T00:00:25.992" v="1542" actId="207"/>
          <ac:spMkLst>
            <pc:docMk/>
            <pc:sldMk cId="99299538" sldId="2840"/>
            <ac:spMk id="21" creationId="{65195D31-8CD1-9CAD-EDAB-5DC5BCEFF793}"/>
          </ac:spMkLst>
        </pc:spChg>
      </pc:sldChg>
      <pc:sldChg chg="modSp add mod">
        <pc:chgData name="Aurelien Domont" userId="6da7715ce44349b3" providerId="LiveId" clId="{1F031B4F-7A08-47B6-9BBE-3BE595172CA2}" dt="2023-02-16T00:00:31.016" v="1543" actId="207"/>
        <pc:sldMkLst>
          <pc:docMk/>
          <pc:sldMk cId="2897878408" sldId="2841"/>
        </pc:sldMkLst>
        <pc:spChg chg="mod">
          <ac:chgData name="Aurelien Domont" userId="6da7715ce44349b3" providerId="LiveId" clId="{1F031B4F-7A08-47B6-9BBE-3BE595172CA2}" dt="2023-02-16T00:00:31.016" v="1543" actId="207"/>
          <ac:spMkLst>
            <pc:docMk/>
            <pc:sldMk cId="2897878408" sldId="2841"/>
            <ac:spMk id="21" creationId="{65195D31-8CD1-9CAD-EDAB-5DC5BCEFF793}"/>
          </ac:spMkLst>
        </pc:spChg>
      </pc:sldChg>
      <pc:sldChg chg="modSp add mod">
        <pc:chgData name="Aurelien Domont" userId="6da7715ce44349b3" providerId="LiveId" clId="{1F031B4F-7A08-47B6-9BBE-3BE595172CA2}" dt="2023-02-16T00:00:34.787" v="1544" actId="207"/>
        <pc:sldMkLst>
          <pc:docMk/>
          <pc:sldMk cId="351107340" sldId="2842"/>
        </pc:sldMkLst>
        <pc:spChg chg="mod">
          <ac:chgData name="Aurelien Domont" userId="6da7715ce44349b3" providerId="LiveId" clId="{1F031B4F-7A08-47B6-9BBE-3BE595172CA2}" dt="2023-02-16T00:00:34.787" v="1544" actId="207"/>
          <ac:spMkLst>
            <pc:docMk/>
            <pc:sldMk cId="351107340" sldId="2842"/>
            <ac:spMk id="21" creationId="{65195D31-8CD1-9CAD-EDAB-5DC5BCEFF793}"/>
          </ac:spMkLst>
        </pc:spChg>
      </pc:sldChg>
      <pc:sldChg chg="modSp add mod">
        <pc:chgData name="Aurelien Domont" userId="6da7715ce44349b3" providerId="LiveId" clId="{1F031B4F-7A08-47B6-9BBE-3BE595172CA2}" dt="2023-02-16T00:00:38.134" v="1545" actId="207"/>
        <pc:sldMkLst>
          <pc:docMk/>
          <pc:sldMk cId="3301408557" sldId="2843"/>
        </pc:sldMkLst>
        <pc:spChg chg="mod">
          <ac:chgData name="Aurelien Domont" userId="6da7715ce44349b3" providerId="LiveId" clId="{1F031B4F-7A08-47B6-9BBE-3BE595172CA2}" dt="2023-02-16T00:00:38.134" v="1545" actId="207"/>
          <ac:spMkLst>
            <pc:docMk/>
            <pc:sldMk cId="3301408557" sldId="2843"/>
            <ac:spMk id="21" creationId="{65195D31-8CD1-9CAD-EDAB-5DC5BCEFF793}"/>
          </ac:spMkLst>
        </pc:spChg>
      </pc:sldChg>
      <pc:sldChg chg="modSp add mod">
        <pc:chgData name="Aurelien Domont" userId="6da7715ce44349b3" providerId="LiveId" clId="{1F031B4F-7A08-47B6-9BBE-3BE595172CA2}" dt="2023-02-16T00:00:42.468" v="1546" actId="207"/>
        <pc:sldMkLst>
          <pc:docMk/>
          <pc:sldMk cId="820944881" sldId="2844"/>
        </pc:sldMkLst>
        <pc:spChg chg="mod">
          <ac:chgData name="Aurelien Domont" userId="6da7715ce44349b3" providerId="LiveId" clId="{1F031B4F-7A08-47B6-9BBE-3BE595172CA2}" dt="2023-02-16T00:00:42.468" v="1546" actId="207"/>
          <ac:spMkLst>
            <pc:docMk/>
            <pc:sldMk cId="820944881" sldId="2844"/>
            <ac:spMk id="21" creationId="{65195D31-8CD1-9CAD-EDAB-5DC5BCEFF793}"/>
          </ac:spMkLst>
        </pc:spChg>
      </pc:sldChg>
      <pc:sldChg chg="modSp add mod">
        <pc:chgData name="Aurelien Domont" userId="6da7715ce44349b3" providerId="LiveId" clId="{1F031B4F-7A08-47B6-9BBE-3BE595172CA2}" dt="2023-02-16T00:00:49.661" v="1547" actId="207"/>
        <pc:sldMkLst>
          <pc:docMk/>
          <pc:sldMk cId="1182925878" sldId="2845"/>
        </pc:sldMkLst>
        <pc:spChg chg="mod">
          <ac:chgData name="Aurelien Domont" userId="6da7715ce44349b3" providerId="LiveId" clId="{1F031B4F-7A08-47B6-9BBE-3BE595172CA2}" dt="2023-02-16T00:00:49.661" v="1547" actId="207"/>
          <ac:spMkLst>
            <pc:docMk/>
            <pc:sldMk cId="1182925878" sldId="2845"/>
            <ac:spMk id="21" creationId="{65195D31-8CD1-9CAD-EDAB-5DC5BCEFF793}"/>
          </ac:spMkLst>
        </pc:spChg>
      </pc:sldChg>
      <pc:sldChg chg="modSp add mod">
        <pc:chgData name="Aurelien Domont" userId="6da7715ce44349b3" providerId="LiveId" clId="{1F031B4F-7A08-47B6-9BBE-3BE595172CA2}" dt="2023-02-16T00:00:54.866" v="1548" actId="207"/>
        <pc:sldMkLst>
          <pc:docMk/>
          <pc:sldMk cId="2656530410" sldId="2846"/>
        </pc:sldMkLst>
        <pc:spChg chg="mod">
          <ac:chgData name="Aurelien Domont" userId="6da7715ce44349b3" providerId="LiveId" clId="{1F031B4F-7A08-47B6-9BBE-3BE595172CA2}" dt="2023-02-16T00:00:54.866" v="1548" actId="207"/>
          <ac:spMkLst>
            <pc:docMk/>
            <pc:sldMk cId="2656530410" sldId="2846"/>
            <ac:spMk id="21" creationId="{65195D31-8CD1-9CAD-EDAB-5DC5BCEFF793}"/>
          </ac:spMkLst>
        </pc:spChg>
      </pc:sldChg>
      <pc:sldChg chg="modSp add mod">
        <pc:chgData name="Aurelien Domont" userId="6da7715ce44349b3" providerId="LiveId" clId="{1F031B4F-7A08-47B6-9BBE-3BE595172CA2}" dt="2023-02-16T00:01:10.583" v="1551" actId="207"/>
        <pc:sldMkLst>
          <pc:docMk/>
          <pc:sldMk cId="2759316881" sldId="2847"/>
        </pc:sldMkLst>
        <pc:spChg chg="mod">
          <ac:chgData name="Aurelien Domont" userId="6da7715ce44349b3" providerId="LiveId" clId="{1F031B4F-7A08-47B6-9BBE-3BE595172CA2}" dt="2023-02-16T00:01:07.150" v="1550" actId="207"/>
          <ac:spMkLst>
            <pc:docMk/>
            <pc:sldMk cId="2759316881" sldId="2847"/>
            <ac:spMk id="10" creationId="{52524284-CA7D-416E-ADDB-CAB7040B62C4}"/>
          </ac:spMkLst>
        </pc:spChg>
        <pc:spChg chg="mod">
          <ac:chgData name="Aurelien Domont" userId="6da7715ce44349b3" providerId="LiveId" clId="{1F031B4F-7A08-47B6-9BBE-3BE595172CA2}" dt="2023-02-16T00:01:02.100" v="1549" actId="207"/>
          <ac:spMkLst>
            <pc:docMk/>
            <pc:sldMk cId="2759316881" sldId="2847"/>
            <ac:spMk id="11" creationId="{DCA1B29F-4AB2-4DAE-B498-BC74026B1DDA}"/>
          </ac:spMkLst>
        </pc:spChg>
        <pc:spChg chg="mod">
          <ac:chgData name="Aurelien Domont" userId="6da7715ce44349b3" providerId="LiveId" clId="{1F031B4F-7A08-47B6-9BBE-3BE595172CA2}" dt="2023-02-16T00:01:10.583" v="1551" actId="207"/>
          <ac:spMkLst>
            <pc:docMk/>
            <pc:sldMk cId="2759316881" sldId="2847"/>
            <ac:spMk id="34" creationId="{473B4042-51F1-41BD-8EDF-E03E66716A5A}"/>
          </ac:spMkLst>
        </pc:spChg>
      </pc:sldChg>
      <pc:sldChg chg="addSp delSp modSp add mod">
        <pc:chgData name="Aurelien Domont" userId="6da7715ce44349b3" providerId="LiveId" clId="{1F031B4F-7A08-47B6-9BBE-3BE595172CA2}" dt="2023-02-16T00:01:18.801" v="1552" actId="207"/>
        <pc:sldMkLst>
          <pc:docMk/>
          <pc:sldMk cId="2052774859" sldId="2848"/>
        </pc:sldMkLst>
        <pc:spChg chg="add mod">
          <ac:chgData name="Aurelien Domont" userId="6da7715ce44349b3" providerId="LiveId" clId="{1F031B4F-7A08-47B6-9BBE-3BE595172CA2}" dt="2023-02-15T23:35:44.167" v="1219" actId="207"/>
          <ac:spMkLst>
            <pc:docMk/>
            <pc:sldMk cId="2052774859" sldId="2848"/>
            <ac:spMk id="2" creationId="{DCC77A72-0611-AD47-3B11-3DA7A04498AA}"/>
          </ac:spMkLst>
        </pc:spChg>
        <pc:spChg chg="add del mod">
          <ac:chgData name="Aurelien Domont" userId="6da7715ce44349b3" providerId="LiveId" clId="{1F031B4F-7A08-47B6-9BBE-3BE595172CA2}" dt="2023-02-15T23:35:55.563" v="1222"/>
          <ac:spMkLst>
            <pc:docMk/>
            <pc:sldMk cId="2052774859" sldId="2848"/>
            <ac:spMk id="6" creationId="{CB3BD795-0151-2A75-4DB7-698349729202}"/>
          </ac:spMkLst>
        </pc:spChg>
        <pc:spChg chg="mod">
          <ac:chgData name="Aurelien Domont" userId="6da7715ce44349b3" providerId="LiveId" clId="{1F031B4F-7A08-47B6-9BBE-3BE595172CA2}" dt="2023-02-15T23:36:07.114" v="1224" actId="207"/>
          <ac:spMkLst>
            <pc:docMk/>
            <pc:sldMk cId="2052774859" sldId="2848"/>
            <ac:spMk id="10" creationId="{52524284-CA7D-416E-ADDB-CAB7040B62C4}"/>
          </ac:spMkLst>
        </pc:spChg>
        <pc:spChg chg="mod">
          <ac:chgData name="Aurelien Domont" userId="6da7715ce44349b3" providerId="LiveId" clId="{1F031B4F-7A08-47B6-9BBE-3BE595172CA2}" dt="2023-02-15T23:36:03.200" v="1223" actId="207"/>
          <ac:spMkLst>
            <pc:docMk/>
            <pc:sldMk cId="2052774859" sldId="2848"/>
            <ac:spMk id="11" creationId="{DCA1B29F-4AB2-4DAE-B498-BC74026B1DDA}"/>
          </ac:spMkLst>
        </pc:spChg>
        <pc:spChg chg="mod">
          <ac:chgData name="Aurelien Domont" userId="6da7715ce44349b3" providerId="LiveId" clId="{1F031B4F-7A08-47B6-9BBE-3BE595172CA2}" dt="2023-02-16T00:01:18.801" v="1552" actId="207"/>
          <ac:spMkLst>
            <pc:docMk/>
            <pc:sldMk cId="2052774859" sldId="2848"/>
            <ac:spMk id="26" creationId="{60AA3177-69A2-8959-DB8F-FDAAC70C5894}"/>
          </ac:spMkLst>
        </pc:spChg>
      </pc:sldChg>
      <pc:sldChg chg="delSp modSp add mod">
        <pc:chgData name="Aurelien Domont" userId="6da7715ce44349b3" providerId="LiveId" clId="{1F031B4F-7A08-47B6-9BBE-3BE595172CA2}" dt="2023-02-16T00:01:22.737" v="1553" actId="207"/>
        <pc:sldMkLst>
          <pc:docMk/>
          <pc:sldMk cId="3027109485" sldId="2849"/>
        </pc:sldMkLst>
        <pc:spChg chg="del">
          <ac:chgData name="Aurelien Domont" userId="6da7715ce44349b3" providerId="LiveId" clId="{1F031B4F-7A08-47B6-9BBE-3BE595172CA2}" dt="2023-02-15T23:36:50.463" v="1226" actId="478"/>
          <ac:spMkLst>
            <pc:docMk/>
            <pc:sldMk cId="3027109485" sldId="2849"/>
            <ac:spMk id="2" creationId="{DCC77A72-0611-AD47-3B11-3DA7A04498AA}"/>
          </ac:spMkLst>
        </pc:spChg>
        <pc:spChg chg="mod">
          <ac:chgData name="Aurelien Domont" userId="6da7715ce44349b3" providerId="LiveId" clId="{1F031B4F-7A08-47B6-9BBE-3BE595172CA2}" dt="2023-02-16T00:01:22.737" v="1553" actId="207"/>
          <ac:spMkLst>
            <pc:docMk/>
            <pc:sldMk cId="3027109485" sldId="2849"/>
            <ac:spMk id="26" creationId="{60AA3177-69A2-8959-DB8F-FDAAC70C5894}"/>
          </ac:spMkLst>
        </pc:spChg>
      </pc:sldChg>
      <pc:sldChg chg="modSp add mod">
        <pc:chgData name="Aurelien Domont" userId="6da7715ce44349b3" providerId="LiveId" clId="{1F031B4F-7A08-47B6-9BBE-3BE595172CA2}" dt="2023-02-16T00:01:26.209" v="1554" actId="207"/>
        <pc:sldMkLst>
          <pc:docMk/>
          <pc:sldMk cId="1571382826" sldId="2850"/>
        </pc:sldMkLst>
        <pc:spChg chg="mod">
          <ac:chgData name="Aurelien Domont" userId="6da7715ce44349b3" providerId="LiveId" clId="{1F031B4F-7A08-47B6-9BBE-3BE595172CA2}" dt="2023-02-16T00:01:26.209" v="1554" actId="207"/>
          <ac:spMkLst>
            <pc:docMk/>
            <pc:sldMk cId="1571382826" sldId="2850"/>
            <ac:spMk id="26" creationId="{60AA3177-69A2-8959-DB8F-FDAAC70C5894}"/>
          </ac:spMkLst>
        </pc:spChg>
      </pc:sldChg>
      <pc:sldChg chg="modSp add mod">
        <pc:chgData name="Aurelien Domont" userId="6da7715ce44349b3" providerId="LiveId" clId="{1F031B4F-7A08-47B6-9BBE-3BE595172CA2}" dt="2023-02-16T00:01:30.773" v="1555" actId="207"/>
        <pc:sldMkLst>
          <pc:docMk/>
          <pc:sldMk cId="3635585553" sldId="2851"/>
        </pc:sldMkLst>
        <pc:spChg chg="mod">
          <ac:chgData name="Aurelien Domont" userId="6da7715ce44349b3" providerId="LiveId" clId="{1F031B4F-7A08-47B6-9BBE-3BE595172CA2}" dt="2023-02-16T00:01:30.773" v="1555" actId="207"/>
          <ac:spMkLst>
            <pc:docMk/>
            <pc:sldMk cId="3635585553" sldId="2851"/>
            <ac:spMk id="26" creationId="{60AA3177-69A2-8959-DB8F-FDAAC70C5894}"/>
          </ac:spMkLst>
        </pc:spChg>
      </pc:sldChg>
      <pc:sldChg chg="modSp add mod">
        <pc:chgData name="Aurelien Domont" userId="6da7715ce44349b3" providerId="LiveId" clId="{1F031B4F-7A08-47B6-9BBE-3BE595172CA2}" dt="2023-02-16T00:01:34.088" v="1556" actId="207"/>
        <pc:sldMkLst>
          <pc:docMk/>
          <pc:sldMk cId="2695002001" sldId="2852"/>
        </pc:sldMkLst>
        <pc:spChg chg="mod">
          <ac:chgData name="Aurelien Domont" userId="6da7715ce44349b3" providerId="LiveId" clId="{1F031B4F-7A08-47B6-9BBE-3BE595172CA2}" dt="2023-02-16T00:01:34.088" v="1556" actId="207"/>
          <ac:spMkLst>
            <pc:docMk/>
            <pc:sldMk cId="2695002001" sldId="2852"/>
            <ac:spMk id="26" creationId="{60AA3177-69A2-8959-DB8F-FDAAC70C5894}"/>
          </ac:spMkLst>
        </pc:spChg>
      </pc:sldChg>
      <pc:sldChg chg="modSp add mod">
        <pc:chgData name="Aurelien Domont" userId="6da7715ce44349b3" providerId="LiveId" clId="{1F031B4F-7A08-47B6-9BBE-3BE595172CA2}" dt="2023-02-16T00:01:37.929" v="1557" actId="207"/>
        <pc:sldMkLst>
          <pc:docMk/>
          <pc:sldMk cId="3951331113" sldId="2853"/>
        </pc:sldMkLst>
        <pc:spChg chg="mod">
          <ac:chgData name="Aurelien Domont" userId="6da7715ce44349b3" providerId="LiveId" clId="{1F031B4F-7A08-47B6-9BBE-3BE595172CA2}" dt="2023-02-16T00:01:37.929" v="1557" actId="207"/>
          <ac:spMkLst>
            <pc:docMk/>
            <pc:sldMk cId="3951331113" sldId="2853"/>
            <ac:spMk id="26" creationId="{60AA3177-69A2-8959-DB8F-FDAAC70C5894}"/>
          </ac:spMkLst>
        </pc:spChg>
      </pc:sldChg>
      <pc:sldChg chg="modSp add mod">
        <pc:chgData name="Aurelien Domont" userId="6da7715ce44349b3" providerId="LiveId" clId="{1F031B4F-7A08-47B6-9BBE-3BE595172CA2}" dt="2023-02-16T00:01:42.187" v="1558" actId="207"/>
        <pc:sldMkLst>
          <pc:docMk/>
          <pc:sldMk cId="802179577" sldId="2854"/>
        </pc:sldMkLst>
        <pc:spChg chg="mod">
          <ac:chgData name="Aurelien Domont" userId="6da7715ce44349b3" providerId="LiveId" clId="{1F031B4F-7A08-47B6-9BBE-3BE595172CA2}" dt="2023-02-16T00:01:42.187" v="1558" actId="207"/>
          <ac:spMkLst>
            <pc:docMk/>
            <pc:sldMk cId="802179577" sldId="2854"/>
            <ac:spMk id="26" creationId="{60AA3177-69A2-8959-DB8F-FDAAC70C5894}"/>
          </ac:spMkLst>
        </pc:spChg>
      </pc:sldChg>
      <pc:sldChg chg="modSp add mod">
        <pc:chgData name="Aurelien Domont" userId="6da7715ce44349b3" providerId="LiveId" clId="{1F031B4F-7A08-47B6-9BBE-3BE595172CA2}" dt="2023-02-16T00:01:46.123" v="1559" actId="207"/>
        <pc:sldMkLst>
          <pc:docMk/>
          <pc:sldMk cId="652607941" sldId="2855"/>
        </pc:sldMkLst>
        <pc:spChg chg="mod">
          <ac:chgData name="Aurelien Domont" userId="6da7715ce44349b3" providerId="LiveId" clId="{1F031B4F-7A08-47B6-9BBE-3BE595172CA2}" dt="2023-02-16T00:01:46.123" v="1559" actId="207"/>
          <ac:spMkLst>
            <pc:docMk/>
            <pc:sldMk cId="652607941" sldId="2855"/>
            <ac:spMk id="26" creationId="{60AA3177-69A2-8959-DB8F-FDAAC70C5894}"/>
          </ac:spMkLst>
        </pc:spChg>
      </pc:sldChg>
      <pc:sldChg chg="modSp add mod">
        <pc:chgData name="Aurelien Domont" userId="6da7715ce44349b3" providerId="LiveId" clId="{1F031B4F-7A08-47B6-9BBE-3BE595172CA2}" dt="2023-02-16T00:02:11.741" v="1562" actId="207"/>
        <pc:sldMkLst>
          <pc:docMk/>
          <pc:sldMk cId="1312466160" sldId="2856"/>
        </pc:sldMkLst>
        <pc:spChg chg="mod">
          <ac:chgData name="Aurelien Domont" userId="6da7715ce44349b3" providerId="LiveId" clId="{1F031B4F-7A08-47B6-9BBE-3BE595172CA2}" dt="2023-02-16T00:02:07.280" v="1561" actId="207"/>
          <ac:spMkLst>
            <pc:docMk/>
            <pc:sldMk cId="1312466160" sldId="2856"/>
            <ac:spMk id="11" creationId="{DCA1B29F-4AB2-4DAE-B498-BC74026B1DDA}"/>
          </ac:spMkLst>
        </pc:spChg>
        <pc:spChg chg="mod">
          <ac:chgData name="Aurelien Domont" userId="6da7715ce44349b3" providerId="LiveId" clId="{1F031B4F-7A08-47B6-9BBE-3BE595172CA2}" dt="2023-02-16T00:02:03.818" v="1560" actId="207"/>
          <ac:spMkLst>
            <pc:docMk/>
            <pc:sldMk cId="1312466160" sldId="2856"/>
            <ac:spMk id="22" creationId="{8664D20B-2002-4C9F-A94C-AB6D33819DF8}"/>
          </ac:spMkLst>
        </pc:spChg>
        <pc:spChg chg="mod">
          <ac:chgData name="Aurelien Domont" userId="6da7715ce44349b3" providerId="LiveId" clId="{1F031B4F-7A08-47B6-9BBE-3BE595172CA2}" dt="2023-02-16T00:02:11.741" v="1562" actId="207"/>
          <ac:spMkLst>
            <pc:docMk/>
            <pc:sldMk cId="1312466160" sldId="2856"/>
            <ac:spMk id="35" creationId="{64C38490-8643-4DBA-8D8B-54C587ECA10D}"/>
          </ac:spMkLst>
        </pc:spChg>
      </pc:sldChg>
      <pc:sldChg chg="modSp add mod">
        <pc:chgData name="Aurelien Domont" userId="6da7715ce44349b3" providerId="LiveId" clId="{1F031B4F-7A08-47B6-9BBE-3BE595172CA2}" dt="2023-02-16T00:03:18.161" v="1571" actId="207"/>
        <pc:sldMkLst>
          <pc:docMk/>
          <pc:sldMk cId="1521977314" sldId="2857"/>
        </pc:sldMkLst>
        <pc:spChg chg="mod">
          <ac:chgData name="Aurelien Domont" userId="6da7715ce44349b3" providerId="LiveId" clId="{1F031B4F-7A08-47B6-9BBE-3BE595172CA2}" dt="2023-02-16T00:02:21.475" v="1563" actId="207"/>
          <ac:spMkLst>
            <pc:docMk/>
            <pc:sldMk cId="1521977314" sldId="2857"/>
            <ac:spMk id="11" creationId="{DCA1B29F-4AB2-4DAE-B498-BC74026B1DDA}"/>
          </ac:spMkLst>
        </pc:spChg>
        <pc:spChg chg="mod">
          <ac:chgData name="Aurelien Domont" userId="6da7715ce44349b3" providerId="LiveId" clId="{1F031B4F-7A08-47B6-9BBE-3BE595172CA2}" dt="2023-02-16T00:02:23.826" v="1564" actId="207"/>
          <ac:spMkLst>
            <pc:docMk/>
            <pc:sldMk cId="1521977314" sldId="2857"/>
            <ac:spMk id="22" creationId="{8664D20B-2002-4C9F-A94C-AB6D33819DF8}"/>
          </ac:spMkLst>
        </pc:spChg>
        <pc:spChg chg="mod">
          <ac:chgData name="Aurelien Domont" userId="6da7715ce44349b3" providerId="LiveId" clId="{1F031B4F-7A08-47B6-9BBE-3BE595172CA2}" dt="2023-02-16T00:03:18.161" v="1571" actId="207"/>
          <ac:spMkLst>
            <pc:docMk/>
            <pc:sldMk cId="1521977314" sldId="2857"/>
            <ac:spMk id="29" creationId="{8F984EF8-19B2-4B5E-98EC-433CCE26E2A7}"/>
          </ac:spMkLst>
        </pc:spChg>
      </pc:sldChg>
      <pc:sldChg chg="add del">
        <pc:chgData name="Aurelien Domont" userId="6da7715ce44349b3" providerId="LiveId" clId="{1F031B4F-7A08-47B6-9BBE-3BE595172CA2}" dt="2023-02-16T00:02:42.380" v="1567" actId="47"/>
        <pc:sldMkLst>
          <pc:docMk/>
          <pc:sldMk cId="3898976042" sldId="2858"/>
        </pc:sldMkLst>
      </pc:sldChg>
      <pc:sldChg chg="add del">
        <pc:chgData name="Aurelien Domont" userId="6da7715ce44349b3" providerId="LiveId" clId="{1F031B4F-7A08-47B6-9BBE-3BE595172CA2}" dt="2023-02-16T00:03:27.451" v="1573" actId="47"/>
        <pc:sldMkLst>
          <pc:docMk/>
          <pc:sldMk cId="2996246470" sldId="2859"/>
        </pc:sldMkLst>
      </pc:sldChg>
      <pc:sldChg chg="add del">
        <pc:chgData name="Aurelien Domont" userId="6da7715ce44349b3" providerId="LiveId" clId="{1F031B4F-7A08-47B6-9BBE-3BE595172CA2}" dt="2023-02-16T00:03:45.310" v="1578" actId="47"/>
        <pc:sldMkLst>
          <pc:docMk/>
          <pc:sldMk cId="2129078642" sldId="2860"/>
        </pc:sldMkLst>
      </pc:sldChg>
      <pc:sldChg chg="add del">
        <pc:chgData name="Aurelien Domont" userId="6da7715ce44349b3" providerId="LiveId" clId="{1F031B4F-7A08-47B6-9BBE-3BE595172CA2}" dt="2023-02-16T00:03:53.952" v="1581" actId="47"/>
        <pc:sldMkLst>
          <pc:docMk/>
          <pc:sldMk cId="858972833" sldId="2861"/>
        </pc:sldMkLst>
      </pc:sldChg>
      <pc:sldChg chg="add del">
        <pc:chgData name="Aurelien Domont" userId="6da7715ce44349b3" providerId="LiveId" clId="{1F031B4F-7A08-47B6-9BBE-3BE595172CA2}" dt="2023-02-16T00:04:05.702" v="1584" actId="47"/>
        <pc:sldMkLst>
          <pc:docMk/>
          <pc:sldMk cId="368543182" sldId="2862"/>
        </pc:sldMkLst>
      </pc:sldChg>
      <pc:sldChg chg="add del">
        <pc:chgData name="Aurelien Domont" userId="6da7715ce44349b3" providerId="LiveId" clId="{1F031B4F-7A08-47B6-9BBE-3BE595172CA2}" dt="2023-02-16T00:04:27.562" v="1587" actId="47"/>
        <pc:sldMkLst>
          <pc:docMk/>
          <pc:sldMk cId="1533410956" sldId="2863"/>
        </pc:sldMkLst>
      </pc:sldChg>
      <pc:sldChg chg="add del">
        <pc:chgData name="Aurelien Domont" userId="6da7715ce44349b3" providerId="LiveId" clId="{1F031B4F-7A08-47B6-9BBE-3BE595172CA2}" dt="2023-02-16T00:04:42.762" v="1590" actId="47"/>
        <pc:sldMkLst>
          <pc:docMk/>
          <pc:sldMk cId="549618535" sldId="2864"/>
        </pc:sldMkLst>
      </pc:sldChg>
      <pc:sldChg chg="modSp add mod">
        <pc:chgData name="Aurelien Domont" userId="6da7715ce44349b3" providerId="LiveId" clId="{1F031B4F-7A08-47B6-9BBE-3BE595172CA2}" dt="2023-02-15T23:44:32.923" v="1384" actId="207"/>
        <pc:sldMkLst>
          <pc:docMk/>
          <pc:sldMk cId="1640665180" sldId="2865"/>
        </pc:sldMkLst>
        <pc:spChg chg="mod">
          <ac:chgData name="Aurelien Domont" userId="6da7715ce44349b3" providerId="LiveId" clId="{1F031B4F-7A08-47B6-9BBE-3BE595172CA2}" dt="2023-02-15T23:44:32.923" v="1384" actId="207"/>
          <ac:spMkLst>
            <pc:docMk/>
            <pc:sldMk cId="1640665180" sldId="2865"/>
            <ac:spMk id="14" creationId="{85DB7984-08ED-9AB7-9778-BAC9EF667E17}"/>
          </ac:spMkLst>
        </pc:spChg>
      </pc:sldChg>
      <pc:sldChg chg="add del">
        <pc:chgData name="Aurelien Domont" userId="6da7715ce44349b3" providerId="LiveId" clId="{1F031B4F-7A08-47B6-9BBE-3BE595172CA2}" dt="2023-02-15T23:44:19.081" v="1381"/>
        <pc:sldMkLst>
          <pc:docMk/>
          <pc:sldMk cId="3602322078" sldId="2865"/>
        </pc:sldMkLst>
      </pc:sldChg>
      <pc:sldChg chg="modSp add mod">
        <pc:chgData name="Aurelien Domont" userId="6da7715ce44349b3" providerId="LiveId" clId="{1F031B4F-7A08-47B6-9BBE-3BE595172CA2}" dt="2023-02-15T23:45:28.564" v="1389" actId="207"/>
        <pc:sldMkLst>
          <pc:docMk/>
          <pc:sldMk cId="3101696240" sldId="2866"/>
        </pc:sldMkLst>
        <pc:spChg chg="mod">
          <ac:chgData name="Aurelien Domont" userId="6da7715ce44349b3" providerId="LiveId" clId="{1F031B4F-7A08-47B6-9BBE-3BE595172CA2}" dt="2023-02-15T23:45:28.564" v="1389" actId="207"/>
          <ac:spMkLst>
            <pc:docMk/>
            <pc:sldMk cId="3101696240" sldId="2866"/>
            <ac:spMk id="14" creationId="{85DB7984-08ED-9AB7-9778-BAC9EF667E17}"/>
          </ac:spMkLst>
        </pc:spChg>
      </pc:sldChg>
      <pc:sldChg chg="add del">
        <pc:chgData name="Aurelien Domont" userId="6da7715ce44349b3" providerId="LiveId" clId="{1F031B4F-7A08-47B6-9BBE-3BE595172CA2}" dt="2023-02-15T23:46:34.282" v="1398"/>
        <pc:sldMkLst>
          <pc:docMk/>
          <pc:sldMk cId="966605843" sldId="2867"/>
        </pc:sldMkLst>
      </pc:sldChg>
      <pc:sldChg chg="modSp add mod">
        <pc:chgData name="Aurelien Domont" userId="6da7715ce44349b3" providerId="LiveId" clId="{1F031B4F-7A08-47B6-9BBE-3BE595172CA2}" dt="2023-02-15T23:46:53.486" v="1403" actId="207"/>
        <pc:sldMkLst>
          <pc:docMk/>
          <pc:sldMk cId="2562879692" sldId="2867"/>
        </pc:sldMkLst>
        <pc:spChg chg="mod">
          <ac:chgData name="Aurelien Domont" userId="6da7715ce44349b3" providerId="LiveId" clId="{1F031B4F-7A08-47B6-9BBE-3BE595172CA2}" dt="2023-02-15T23:46:53.486" v="1403" actId="207"/>
          <ac:spMkLst>
            <pc:docMk/>
            <pc:sldMk cId="2562879692" sldId="2867"/>
            <ac:spMk id="14" creationId="{85DB7984-08ED-9AB7-9778-BAC9EF667E17}"/>
          </ac:spMkLst>
        </pc:spChg>
      </pc:sldChg>
      <pc:sldChg chg="add del">
        <pc:chgData name="Aurelien Domont" userId="6da7715ce44349b3" providerId="LiveId" clId="{1F031B4F-7A08-47B6-9BBE-3BE595172CA2}" dt="2023-02-15T23:47:17.949" v="1409" actId="47"/>
        <pc:sldMkLst>
          <pc:docMk/>
          <pc:sldMk cId="3344383452" sldId="2868"/>
        </pc:sldMkLst>
      </pc:sldChg>
      <pc:sldChg chg="modSp add mod">
        <pc:chgData name="Aurelien Domont" userId="6da7715ce44349b3" providerId="LiveId" clId="{1F031B4F-7A08-47B6-9BBE-3BE595172CA2}" dt="2023-02-15T23:47:28.497" v="1411" actId="207"/>
        <pc:sldMkLst>
          <pc:docMk/>
          <pc:sldMk cId="366600172" sldId="2869"/>
        </pc:sldMkLst>
        <pc:spChg chg="mod">
          <ac:chgData name="Aurelien Domont" userId="6da7715ce44349b3" providerId="LiveId" clId="{1F031B4F-7A08-47B6-9BBE-3BE595172CA2}" dt="2023-02-15T23:47:28.497" v="1411" actId="207"/>
          <ac:spMkLst>
            <pc:docMk/>
            <pc:sldMk cId="366600172" sldId="2869"/>
            <ac:spMk id="14" creationId="{85DB7984-08ED-9AB7-9778-BAC9EF667E17}"/>
          </ac:spMkLst>
        </pc:spChg>
      </pc:sldChg>
      <pc:sldChg chg="add del">
        <pc:chgData name="Aurelien Domont" userId="6da7715ce44349b3" providerId="LiveId" clId="{1F031B4F-7A08-47B6-9BBE-3BE595172CA2}" dt="2023-02-15T23:47:15.802" v="1407"/>
        <pc:sldMkLst>
          <pc:docMk/>
          <pc:sldMk cId="2595037430" sldId="2869"/>
        </pc:sldMkLst>
      </pc:sldChg>
      <pc:sldChg chg="modSp add mod">
        <pc:chgData name="Aurelien Domont" userId="6da7715ce44349b3" providerId="LiveId" clId="{1F031B4F-7A08-47B6-9BBE-3BE595172CA2}" dt="2023-02-15T23:47:57.658" v="1417" actId="207"/>
        <pc:sldMkLst>
          <pc:docMk/>
          <pc:sldMk cId="3610873108" sldId="2870"/>
        </pc:sldMkLst>
        <pc:spChg chg="mod">
          <ac:chgData name="Aurelien Domont" userId="6da7715ce44349b3" providerId="LiveId" clId="{1F031B4F-7A08-47B6-9BBE-3BE595172CA2}" dt="2023-02-15T23:47:57.658" v="1417" actId="207"/>
          <ac:spMkLst>
            <pc:docMk/>
            <pc:sldMk cId="3610873108" sldId="2870"/>
            <ac:spMk id="14" creationId="{85DB7984-08ED-9AB7-9778-BAC9EF667E17}"/>
          </ac:spMkLst>
        </pc:spChg>
      </pc:sldChg>
      <pc:sldChg chg="modSp add mod">
        <pc:chgData name="Aurelien Domont" userId="6da7715ce44349b3" providerId="LiveId" clId="{1F031B4F-7A08-47B6-9BBE-3BE595172CA2}" dt="2023-02-15T23:50:51.771" v="1429" actId="207"/>
        <pc:sldMkLst>
          <pc:docMk/>
          <pc:sldMk cId="2534788747" sldId="2871"/>
        </pc:sldMkLst>
        <pc:spChg chg="mod">
          <ac:chgData name="Aurelien Domont" userId="6da7715ce44349b3" providerId="LiveId" clId="{1F031B4F-7A08-47B6-9BBE-3BE595172CA2}" dt="2023-02-15T23:50:51.771" v="1429" actId="207"/>
          <ac:spMkLst>
            <pc:docMk/>
            <pc:sldMk cId="2534788747" sldId="2871"/>
            <ac:spMk id="8" creationId="{72A52A59-2B0C-B438-B79F-EAD1EBFD5A88}"/>
          </ac:spMkLst>
        </pc:spChg>
      </pc:sldChg>
      <pc:sldChg chg="modSp add mod">
        <pc:chgData name="Aurelien Domont" userId="6da7715ce44349b3" providerId="LiveId" clId="{1F031B4F-7A08-47B6-9BBE-3BE595172CA2}" dt="2023-02-15T23:51:02.225" v="1432" actId="207"/>
        <pc:sldMkLst>
          <pc:docMk/>
          <pc:sldMk cId="770456769" sldId="2872"/>
        </pc:sldMkLst>
        <pc:spChg chg="mod">
          <ac:chgData name="Aurelien Domont" userId="6da7715ce44349b3" providerId="LiveId" clId="{1F031B4F-7A08-47B6-9BBE-3BE595172CA2}" dt="2023-02-15T23:51:02.225" v="1432" actId="207"/>
          <ac:spMkLst>
            <pc:docMk/>
            <pc:sldMk cId="770456769" sldId="2872"/>
            <ac:spMk id="8" creationId="{72A52A59-2B0C-B438-B79F-EAD1EBFD5A88}"/>
          </ac:spMkLst>
        </pc:spChg>
      </pc:sldChg>
      <pc:sldChg chg="addSp delSp modSp add mod">
        <pc:chgData name="Aurelien Domont" userId="6da7715ce44349b3" providerId="LiveId" clId="{1F031B4F-7A08-47B6-9BBE-3BE595172CA2}" dt="2023-02-15T23:58:00.669" v="1529"/>
        <pc:sldMkLst>
          <pc:docMk/>
          <pc:sldMk cId="2841726167" sldId="2873"/>
        </pc:sldMkLst>
        <pc:spChg chg="add mod">
          <ac:chgData name="Aurelien Domont" userId="6da7715ce44349b3" providerId="LiveId" clId="{1F031B4F-7A08-47B6-9BBE-3BE595172CA2}" dt="2023-02-15T23:58:00.669" v="1529"/>
          <ac:spMkLst>
            <pc:docMk/>
            <pc:sldMk cId="2841726167" sldId="2873"/>
            <ac:spMk id="2" creationId="{C0110D5F-3357-FFE7-D9F1-53A0EACE1229}"/>
          </ac:spMkLst>
        </pc:spChg>
        <pc:spChg chg="del">
          <ac:chgData name="Aurelien Domont" userId="6da7715ce44349b3" providerId="LiveId" clId="{1F031B4F-7A08-47B6-9BBE-3BE595172CA2}" dt="2023-02-15T23:58:00.402" v="1528" actId="478"/>
          <ac:spMkLst>
            <pc:docMk/>
            <pc:sldMk cId="2841726167" sldId="2873"/>
            <ac:spMk id="3" creationId="{CE2529A3-BA97-486F-9E02-8DFAAA7D8D38}"/>
          </ac:spMkLst>
        </pc:spChg>
        <pc:spChg chg="del">
          <ac:chgData name="Aurelien Domont" userId="6da7715ce44349b3" providerId="LiveId" clId="{1F031B4F-7A08-47B6-9BBE-3BE595172CA2}" dt="2023-02-15T23:57:16.383" v="1520" actId="478"/>
          <ac:spMkLst>
            <pc:docMk/>
            <pc:sldMk cId="2841726167" sldId="2873"/>
            <ac:spMk id="5" creationId="{F232B936-E17D-04E4-26FC-01EC4EE603D1}"/>
          </ac:spMkLst>
        </pc:spChg>
        <pc:spChg chg="mod">
          <ac:chgData name="Aurelien Domont" userId="6da7715ce44349b3" providerId="LiveId" clId="{1F031B4F-7A08-47B6-9BBE-3BE595172CA2}" dt="2023-02-15T23:57:37.364" v="1525" actId="403"/>
          <ac:spMkLst>
            <pc:docMk/>
            <pc:sldMk cId="2841726167" sldId="2873"/>
            <ac:spMk id="7" creationId="{403A8A29-9476-22BB-178D-9E13D8B502E1}"/>
          </ac:spMkLst>
        </pc:spChg>
        <pc:spChg chg="del">
          <ac:chgData name="Aurelien Domont" userId="6da7715ce44349b3" providerId="LiveId" clId="{1F031B4F-7A08-47B6-9BBE-3BE595172CA2}" dt="2023-02-15T23:57:16.383" v="1520" actId="478"/>
          <ac:spMkLst>
            <pc:docMk/>
            <pc:sldMk cId="2841726167" sldId="2873"/>
            <ac:spMk id="8" creationId="{45019213-D1BE-107E-2F5F-9B4585FDEEB0}"/>
          </ac:spMkLst>
        </pc:spChg>
        <pc:spChg chg="del">
          <ac:chgData name="Aurelien Domont" userId="6da7715ce44349b3" providerId="LiveId" clId="{1F031B4F-7A08-47B6-9BBE-3BE595172CA2}" dt="2023-02-15T23:57:23.166" v="1522" actId="478"/>
          <ac:spMkLst>
            <pc:docMk/>
            <pc:sldMk cId="2841726167" sldId="2873"/>
            <ac:spMk id="10" creationId="{BD32D625-76AC-03ED-AEF1-F443696032C5}"/>
          </ac:spMkLst>
        </pc:spChg>
        <pc:spChg chg="mod">
          <ac:chgData name="Aurelien Domont" userId="6da7715ce44349b3" providerId="LiveId" clId="{1F031B4F-7A08-47B6-9BBE-3BE595172CA2}" dt="2023-02-15T23:56:28.540" v="1513" actId="20577"/>
          <ac:spMkLst>
            <pc:docMk/>
            <pc:sldMk cId="2841726167" sldId="2873"/>
            <ac:spMk id="16" creationId="{6C2BB713-9637-4B9B-938F-E9768876782A}"/>
          </ac:spMkLst>
        </pc:spChg>
        <pc:grpChg chg="del">
          <ac:chgData name="Aurelien Domont" userId="6da7715ce44349b3" providerId="LiveId" clId="{1F031B4F-7A08-47B6-9BBE-3BE595172CA2}" dt="2023-02-15T23:57:16.383" v="1520" actId="478"/>
          <ac:grpSpMkLst>
            <pc:docMk/>
            <pc:sldMk cId="2841726167" sldId="2873"/>
            <ac:grpSpMk id="19" creationId="{85468F65-C184-8A3A-0CDD-6F0541764740}"/>
          </ac:grpSpMkLst>
        </pc:grpChg>
      </pc:sldChg>
      <pc:sldChg chg="modSp add mod">
        <pc:chgData name="Aurelien Domont" userId="6da7715ce44349b3" providerId="LiveId" clId="{1F031B4F-7A08-47B6-9BBE-3BE595172CA2}" dt="2023-02-16T00:02:57.494" v="1569" actId="207"/>
        <pc:sldMkLst>
          <pc:docMk/>
          <pc:sldMk cId="958942344" sldId="2874"/>
        </pc:sldMkLst>
        <pc:spChg chg="mod">
          <ac:chgData name="Aurelien Domont" userId="6da7715ce44349b3" providerId="LiveId" clId="{1F031B4F-7A08-47B6-9BBE-3BE595172CA2}" dt="2023-02-16T00:02:57.494" v="1569" actId="207"/>
          <ac:spMkLst>
            <pc:docMk/>
            <pc:sldMk cId="958942344" sldId="2874"/>
            <ac:spMk id="29" creationId="{8F984EF8-19B2-4B5E-98EC-433CCE26E2A7}"/>
          </ac:spMkLst>
        </pc:spChg>
      </pc:sldChg>
      <pc:sldChg chg="modSp add mod">
        <pc:chgData name="Aurelien Domont" userId="6da7715ce44349b3" providerId="LiveId" clId="{1F031B4F-7A08-47B6-9BBE-3BE595172CA2}" dt="2023-02-16T00:03:32.232" v="1574" actId="207"/>
        <pc:sldMkLst>
          <pc:docMk/>
          <pc:sldMk cId="2400123803" sldId="2875"/>
        </pc:sldMkLst>
        <pc:spChg chg="mod">
          <ac:chgData name="Aurelien Domont" userId="6da7715ce44349b3" providerId="LiveId" clId="{1F031B4F-7A08-47B6-9BBE-3BE595172CA2}" dt="2023-02-16T00:03:32.232" v="1574" actId="207"/>
          <ac:spMkLst>
            <pc:docMk/>
            <pc:sldMk cId="2400123803" sldId="2875"/>
            <ac:spMk id="29" creationId="{8F984EF8-19B2-4B5E-98EC-433CCE26E2A7}"/>
          </ac:spMkLst>
        </pc:spChg>
      </pc:sldChg>
      <pc:sldChg chg="modSp add mod">
        <pc:chgData name="Aurelien Domont" userId="6da7715ce44349b3" providerId="LiveId" clId="{1F031B4F-7A08-47B6-9BBE-3BE595172CA2}" dt="2023-02-16T00:03:49.654" v="1579" actId="207"/>
        <pc:sldMkLst>
          <pc:docMk/>
          <pc:sldMk cId="1390132971" sldId="2876"/>
        </pc:sldMkLst>
        <pc:spChg chg="mod">
          <ac:chgData name="Aurelien Domont" userId="6da7715ce44349b3" providerId="LiveId" clId="{1F031B4F-7A08-47B6-9BBE-3BE595172CA2}" dt="2023-02-16T00:03:49.654" v="1579" actId="207"/>
          <ac:spMkLst>
            <pc:docMk/>
            <pc:sldMk cId="1390132971" sldId="2876"/>
            <ac:spMk id="29" creationId="{8F984EF8-19B2-4B5E-98EC-433CCE26E2A7}"/>
          </ac:spMkLst>
        </pc:spChg>
      </pc:sldChg>
      <pc:sldChg chg="modSp add mod">
        <pc:chgData name="Aurelien Domont" userId="6da7715ce44349b3" providerId="LiveId" clId="{1F031B4F-7A08-47B6-9BBE-3BE595172CA2}" dt="2023-02-16T00:03:58.956" v="1582" actId="207"/>
        <pc:sldMkLst>
          <pc:docMk/>
          <pc:sldMk cId="3056090743" sldId="2877"/>
        </pc:sldMkLst>
        <pc:spChg chg="mod">
          <ac:chgData name="Aurelien Domont" userId="6da7715ce44349b3" providerId="LiveId" clId="{1F031B4F-7A08-47B6-9BBE-3BE595172CA2}" dt="2023-02-16T00:03:58.956" v="1582" actId="207"/>
          <ac:spMkLst>
            <pc:docMk/>
            <pc:sldMk cId="3056090743" sldId="2877"/>
            <ac:spMk id="29" creationId="{8F984EF8-19B2-4B5E-98EC-433CCE26E2A7}"/>
          </ac:spMkLst>
        </pc:spChg>
      </pc:sldChg>
      <pc:sldChg chg="modSp add mod">
        <pc:chgData name="Aurelien Domont" userId="6da7715ce44349b3" providerId="LiveId" clId="{1F031B4F-7A08-47B6-9BBE-3BE595172CA2}" dt="2023-02-16T00:04:20.646" v="1585" actId="207"/>
        <pc:sldMkLst>
          <pc:docMk/>
          <pc:sldMk cId="3184558705" sldId="2878"/>
        </pc:sldMkLst>
        <pc:spChg chg="mod">
          <ac:chgData name="Aurelien Domont" userId="6da7715ce44349b3" providerId="LiveId" clId="{1F031B4F-7A08-47B6-9BBE-3BE595172CA2}" dt="2023-02-16T00:04:20.646" v="1585" actId="207"/>
          <ac:spMkLst>
            <pc:docMk/>
            <pc:sldMk cId="3184558705" sldId="2878"/>
            <ac:spMk id="29" creationId="{8F984EF8-19B2-4B5E-98EC-433CCE26E2A7}"/>
          </ac:spMkLst>
        </pc:spChg>
      </pc:sldChg>
      <pc:sldChg chg="modSp add mod">
        <pc:chgData name="Aurelien Domont" userId="6da7715ce44349b3" providerId="LiveId" clId="{1F031B4F-7A08-47B6-9BBE-3BE595172CA2}" dt="2023-02-16T00:04:36.176" v="1588" actId="207"/>
        <pc:sldMkLst>
          <pc:docMk/>
          <pc:sldMk cId="988595457" sldId="2879"/>
        </pc:sldMkLst>
        <pc:spChg chg="mod">
          <ac:chgData name="Aurelien Domont" userId="6da7715ce44349b3" providerId="LiveId" clId="{1F031B4F-7A08-47B6-9BBE-3BE595172CA2}" dt="2023-02-16T00:04:36.176" v="1588" actId="207"/>
          <ac:spMkLst>
            <pc:docMk/>
            <pc:sldMk cId="988595457" sldId="2879"/>
            <ac:spMk id="29" creationId="{8F984EF8-19B2-4B5E-98EC-433CCE26E2A7}"/>
          </ac:spMkLst>
        </pc:spChg>
      </pc:sldChg>
      <pc:sldChg chg="modSp add mod">
        <pc:chgData name="Aurelien Domont" userId="6da7715ce44349b3" providerId="LiveId" clId="{1F031B4F-7A08-47B6-9BBE-3BE595172CA2}" dt="2023-02-16T00:04:48.233" v="1591" actId="207"/>
        <pc:sldMkLst>
          <pc:docMk/>
          <pc:sldMk cId="357216409" sldId="2880"/>
        </pc:sldMkLst>
        <pc:spChg chg="mod">
          <ac:chgData name="Aurelien Domont" userId="6da7715ce44349b3" providerId="LiveId" clId="{1F031B4F-7A08-47B6-9BBE-3BE595172CA2}" dt="2023-02-16T00:04:48.233" v="1591" actId="207"/>
          <ac:spMkLst>
            <pc:docMk/>
            <pc:sldMk cId="357216409" sldId="2880"/>
            <ac:spMk id="29" creationId="{8F984EF8-19B2-4B5E-98EC-433CCE26E2A7}"/>
          </ac:spMkLst>
        </pc:spChg>
      </pc:sldChg>
      <pc:sldChg chg="modSp add mod">
        <pc:chgData name="Aurelien Domont" userId="6da7715ce44349b3" providerId="LiveId" clId="{1F031B4F-7A08-47B6-9BBE-3BE595172CA2}" dt="2023-02-16T00:05:00.567" v="1594" actId="207"/>
        <pc:sldMkLst>
          <pc:docMk/>
          <pc:sldMk cId="3511227816" sldId="2881"/>
        </pc:sldMkLst>
        <pc:spChg chg="mod">
          <ac:chgData name="Aurelien Domont" userId="6da7715ce44349b3" providerId="LiveId" clId="{1F031B4F-7A08-47B6-9BBE-3BE595172CA2}" dt="2023-02-16T00:05:00.567" v="1594" actId="207"/>
          <ac:spMkLst>
            <pc:docMk/>
            <pc:sldMk cId="3511227816" sldId="2881"/>
            <ac:spMk id="29" creationId="{8F984EF8-19B2-4B5E-98EC-433CCE26E2A7}"/>
          </ac:spMkLst>
        </pc:spChg>
      </pc:sldChg>
      <pc:sldChg chg="modSp add mod">
        <pc:chgData name="Aurelien Domont" userId="6da7715ce44349b3" providerId="LiveId" clId="{1F031B4F-7A08-47B6-9BBE-3BE595172CA2}" dt="2023-02-16T00:17:59.930" v="1767" actId="20577"/>
        <pc:sldMkLst>
          <pc:docMk/>
          <pc:sldMk cId="1280474636" sldId="2882"/>
        </pc:sldMkLst>
        <pc:spChg chg="mod">
          <ac:chgData name="Aurelien Domont" userId="6da7715ce44349b3" providerId="LiveId" clId="{1F031B4F-7A08-47B6-9BBE-3BE595172CA2}" dt="2023-02-16T00:17:59.930" v="1767" actId="20577"/>
          <ac:spMkLst>
            <pc:docMk/>
            <pc:sldMk cId="1280474636" sldId="2882"/>
            <ac:spMk id="16" creationId="{6C2BB713-9637-4B9B-938F-E9768876782A}"/>
          </ac:spMkLst>
        </pc:spChg>
      </pc:sldChg>
      <pc:sldChg chg="modSp add mod">
        <pc:chgData name="Aurelien Domont" userId="6da7715ce44349b3" providerId="LiveId" clId="{1F031B4F-7A08-47B6-9BBE-3BE595172CA2}" dt="2023-02-16T00:12:53.545" v="1707" actId="1036"/>
        <pc:sldMkLst>
          <pc:docMk/>
          <pc:sldMk cId="370860101" sldId="2883"/>
        </pc:sldMkLst>
        <pc:spChg chg="mod">
          <ac:chgData name="Aurelien Domont" userId="6da7715ce44349b3" providerId="LiveId" clId="{1F031B4F-7A08-47B6-9BBE-3BE595172CA2}" dt="2023-02-16T00:12:09.892" v="1702" actId="20577"/>
          <ac:spMkLst>
            <pc:docMk/>
            <pc:sldMk cId="370860101" sldId="2883"/>
            <ac:spMk id="16" creationId="{6C2BB713-9637-4B9B-938F-E9768876782A}"/>
          </ac:spMkLst>
        </pc:spChg>
        <pc:spChg chg="mod">
          <ac:chgData name="Aurelien Domont" userId="6da7715ce44349b3" providerId="LiveId" clId="{1F031B4F-7A08-47B6-9BBE-3BE595172CA2}" dt="2023-02-16T00:12:53.545" v="1707" actId="1036"/>
          <ac:spMkLst>
            <pc:docMk/>
            <pc:sldMk cId="370860101" sldId="2883"/>
            <ac:spMk id="27" creationId="{AC8B7369-7E6F-43E6-96D5-9FE68700ADE3}"/>
          </ac:spMkLst>
        </pc:spChg>
      </pc:sldChg>
      <pc:sldChg chg="addSp delSp modSp add mod">
        <pc:chgData name="Aurelien Domont" userId="6da7715ce44349b3" providerId="LiveId" clId="{1F031B4F-7A08-47B6-9BBE-3BE595172CA2}" dt="2023-02-16T02:21:02.549" v="3076" actId="20577"/>
        <pc:sldMkLst>
          <pc:docMk/>
          <pc:sldMk cId="481449207" sldId="2884"/>
        </pc:sldMkLst>
        <pc:spChg chg="mod">
          <ac:chgData name="Aurelien Domont" userId="6da7715ce44349b3" providerId="LiveId" clId="{1F031B4F-7A08-47B6-9BBE-3BE595172CA2}" dt="2023-02-16T02:21:02.549" v="3076" actId="20577"/>
          <ac:spMkLst>
            <pc:docMk/>
            <pc:sldMk cId="481449207" sldId="2884"/>
            <ac:spMk id="2" creationId="{406113FD-AA7D-4249-90D7-70AF85BE48E1}"/>
          </ac:spMkLst>
        </pc:spChg>
        <pc:spChg chg="del">
          <ac:chgData name="Aurelien Domont" userId="6da7715ce44349b3" providerId="LiveId" clId="{1F031B4F-7A08-47B6-9BBE-3BE595172CA2}" dt="2023-02-16T01:49:42.979" v="2104" actId="478"/>
          <ac:spMkLst>
            <pc:docMk/>
            <pc:sldMk cId="481449207" sldId="2884"/>
            <ac:spMk id="6" creationId="{8C9E1E9F-B6D1-4C9B-89F6-850F0CD08945}"/>
          </ac:spMkLst>
        </pc:spChg>
        <pc:spChg chg="add del mod">
          <ac:chgData name="Aurelien Domont" userId="6da7715ce44349b3" providerId="LiveId" clId="{1F031B4F-7A08-47B6-9BBE-3BE595172CA2}" dt="2023-02-16T01:55:35.996" v="2339" actId="478"/>
          <ac:spMkLst>
            <pc:docMk/>
            <pc:sldMk cId="481449207" sldId="2884"/>
            <ac:spMk id="7" creationId="{8BD1164A-4146-460F-492C-3A7CE8BE6E75}"/>
          </ac:spMkLst>
        </pc:spChg>
        <pc:spChg chg="del">
          <ac:chgData name="Aurelien Domont" userId="6da7715ce44349b3" providerId="LiveId" clId="{1F031B4F-7A08-47B6-9BBE-3BE595172CA2}" dt="2023-02-16T01:49:34.107" v="2103" actId="478"/>
          <ac:spMkLst>
            <pc:docMk/>
            <pc:sldMk cId="481449207" sldId="2884"/>
            <ac:spMk id="8" creationId="{F601F365-36FE-43BA-A063-30AAF326381A}"/>
          </ac:spMkLst>
        </pc:spChg>
        <pc:spChg chg="del">
          <ac:chgData name="Aurelien Domont" userId="6da7715ce44349b3" providerId="LiveId" clId="{1F031B4F-7A08-47B6-9BBE-3BE595172CA2}" dt="2023-02-16T01:49:53.414" v="2127" actId="478"/>
          <ac:spMkLst>
            <pc:docMk/>
            <pc:sldMk cId="481449207" sldId="2884"/>
            <ac:spMk id="9" creationId="{12B01F11-E54D-4AB1-A9A7-59F137CC9151}"/>
          </ac:spMkLst>
        </pc:spChg>
        <pc:spChg chg="add del mod">
          <ac:chgData name="Aurelien Domont" userId="6da7715ce44349b3" providerId="LiveId" clId="{1F031B4F-7A08-47B6-9BBE-3BE595172CA2}" dt="2023-02-16T01:55:35.996" v="2339" actId="478"/>
          <ac:spMkLst>
            <pc:docMk/>
            <pc:sldMk cId="481449207" sldId="2884"/>
            <ac:spMk id="10" creationId="{0DDB4F94-7104-E630-9AC1-D4E04F44F940}"/>
          </ac:spMkLst>
        </pc:spChg>
        <pc:spChg chg="del">
          <ac:chgData name="Aurelien Domont" userId="6da7715ce44349b3" providerId="LiveId" clId="{1F031B4F-7A08-47B6-9BBE-3BE595172CA2}" dt="2023-02-16T01:49:34.107" v="2103" actId="478"/>
          <ac:spMkLst>
            <pc:docMk/>
            <pc:sldMk cId="481449207" sldId="2884"/>
            <ac:spMk id="11" creationId="{396683CE-C2F6-4990-BA65-5E87ED73768C}"/>
          </ac:spMkLst>
        </pc:spChg>
        <pc:spChg chg="del">
          <ac:chgData name="Aurelien Domont" userId="6da7715ce44349b3" providerId="LiveId" clId="{1F031B4F-7A08-47B6-9BBE-3BE595172CA2}" dt="2023-02-16T01:49:34.107" v="2103" actId="478"/>
          <ac:spMkLst>
            <pc:docMk/>
            <pc:sldMk cId="481449207" sldId="2884"/>
            <ac:spMk id="12" creationId="{81F2281D-E4F7-4810-BF24-5FBB0FC1DE84}"/>
          </ac:spMkLst>
        </pc:spChg>
        <pc:spChg chg="add del mod">
          <ac:chgData name="Aurelien Domont" userId="6da7715ce44349b3" providerId="LiveId" clId="{1F031B4F-7A08-47B6-9BBE-3BE595172CA2}" dt="2023-02-16T01:55:35.996" v="2339" actId="478"/>
          <ac:spMkLst>
            <pc:docMk/>
            <pc:sldMk cId="481449207" sldId="2884"/>
            <ac:spMk id="13" creationId="{1B350551-BA2E-0E54-5E17-7F01CD05B0F4}"/>
          </ac:spMkLst>
        </pc:spChg>
        <pc:spChg chg="add del mod">
          <ac:chgData name="Aurelien Domont" userId="6da7715ce44349b3" providerId="LiveId" clId="{1F031B4F-7A08-47B6-9BBE-3BE595172CA2}" dt="2023-02-16T01:55:35.996" v="2339" actId="478"/>
          <ac:spMkLst>
            <pc:docMk/>
            <pc:sldMk cId="481449207" sldId="2884"/>
            <ac:spMk id="14" creationId="{A284CA92-F6DA-DD8E-297D-CC8064F8DD81}"/>
          </ac:spMkLst>
        </pc:spChg>
        <pc:spChg chg="add del mod">
          <ac:chgData name="Aurelien Domont" userId="6da7715ce44349b3" providerId="LiveId" clId="{1F031B4F-7A08-47B6-9BBE-3BE595172CA2}" dt="2023-02-16T01:55:35.996" v="2339" actId="478"/>
          <ac:spMkLst>
            <pc:docMk/>
            <pc:sldMk cId="481449207" sldId="2884"/>
            <ac:spMk id="15" creationId="{219EDE03-6C45-0B45-5A5B-1B1C2D360081}"/>
          </ac:spMkLst>
        </pc:spChg>
        <pc:spChg chg="add del mod">
          <ac:chgData name="Aurelien Domont" userId="6da7715ce44349b3" providerId="LiveId" clId="{1F031B4F-7A08-47B6-9BBE-3BE595172CA2}" dt="2023-02-16T02:01:48.954" v="2511" actId="478"/>
          <ac:spMkLst>
            <pc:docMk/>
            <pc:sldMk cId="481449207" sldId="2884"/>
            <ac:spMk id="16" creationId="{ED735AD6-503B-38A5-643E-51C37EA6EB3B}"/>
          </ac:spMkLst>
        </pc:spChg>
        <pc:spChg chg="add del mod">
          <ac:chgData name="Aurelien Domont" userId="6da7715ce44349b3" providerId="LiveId" clId="{1F031B4F-7A08-47B6-9BBE-3BE595172CA2}" dt="2023-02-16T02:01:48.954" v="2511" actId="478"/>
          <ac:spMkLst>
            <pc:docMk/>
            <pc:sldMk cId="481449207" sldId="2884"/>
            <ac:spMk id="17" creationId="{F1D81D0A-FE0C-6BBA-221F-785657AB9706}"/>
          </ac:spMkLst>
        </pc:spChg>
        <pc:spChg chg="add del mod">
          <ac:chgData name="Aurelien Domont" userId="6da7715ce44349b3" providerId="LiveId" clId="{1F031B4F-7A08-47B6-9BBE-3BE595172CA2}" dt="2023-02-16T02:01:48.954" v="2511" actId="478"/>
          <ac:spMkLst>
            <pc:docMk/>
            <pc:sldMk cId="481449207" sldId="2884"/>
            <ac:spMk id="18" creationId="{800B3993-DC18-0482-89F1-F1008A2A5CC9}"/>
          </ac:spMkLst>
        </pc:spChg>
        <pc:spChg chg="add del mod">
          <ac:chgData name="Aurelien Domont" userId="6da7715ce44349b3" providerId="LiveId" clId="{1F031B4F-7A08-47B6-9BBE-3BE595172CA2}" dt="2023-02-16T02:01:48.954" v="2511" actId="478"/>
          <ac:spMkLst>
            <pc:docMk/>
            <pc:sldMk cId="481449207" sldId="2884"/>
            <ac:spMk id="19" creationId="{25B4D1A0-556F-9403-8ADE-9F493B15A0B9}"/>
          </ac:spMkLst>
        </pc:spChg>
        <pc:spChg chg="add del mod">
          <ac:chgData name="Aurelien Domont" userId="6da7715ce44349b3" providerId="LiveId" clId="{1F031B4F-7A08-47B6-9BBE-3BE595172CA2}" dt="2023-02-16T02:01:48.954" v="2511" actId="478"/>
          <ac:spMkLst>
            <pc:docMk/>
            <pc:sldMk cId="481449207" sldId="2884"/>
            <ac:spMk id="20" creationId="{93D86005-4A9A-2722-7166-8E9CA0814BCD}"/>
          </ac:spMkLst>
        </pc:spChg>
        <pc:spChg chg="add del mod">
          <ac:chgData name="Aurelien Domont" userId="6da7715ce44349b3" providerId="LiveId" clId="{1F031B4F-7A08-47B6-9BBE-3BE595172CA2}" dt="2023-02-16T02:03:47.728" v="2585" actId="478"/>
          <ac:spMkLst>
            <pc:docMk/>
            <pc:sldMk cId="481449207" sldId="2884"/>
            <ac:spMk id="21" creationId="{7CD0C5B7-C64F-3AA4-F8E4-8C693035BA6D}"/>
          </ac:spMkLst>
        </pc:spChg>
        <pc:spChg chg="add del mod">
          <ac:chgData name="Aurelien Domont" userId="6da7715ce44349b3" providerId="LiveId" clId="{1F031B4F-7A08-47B6-9BBE-3BE595172CA2}" dt="2023-02-16T02:05:51.368" v="2664" actId="478"/>
          <ac:spMkLst>
            <pc:docMk/>
            <pc:sldMk cId="481449207" sldId="2884"/>
            <ac:spMk id="22" creationId="{48B95C45-3B58-1DA4-582E-5F0F499E46A5}"/>
          </ac:spMkLst>
        </pc:spChg>
        <pc:spChg chg="mod">
          <ac:chgData name="Aurelien Domont" userId="6da7715ce44349b3" providerId="LiveId" clId="{1F031B4F-7A08-47B6-9BBE-3BE595172CA2}" dt="2023-02-16T02:19:08.580" v="3059" actId="1035"/>
          <ac:spMkLst>
            <pc:docMk/>
            <pc:sldMk cId="481449207" sldId="2884"/>
            <ac:spMk id="45" creationId="{C40ABB58-A617-4C1D-B300-D06F0DBE43C3}"/>
          </ac:spMkLst>
        </pc:spChg>
      </pc:sldChg>
      <pc:sldChg chg="add">
        <pc:chgData name="Aurelien Domont" userId="6da7715ce44349b3" providerId="LiveId" clId="{1F031B4F-7A08-47B6-9BBE-3BE595172CA2}" dt="2023-02-16T01:58:35.904" v="2405"/>
        <pc:sldMkLst>
          <pc:docMk/>
          <pc:sldMk cId="3933103559" sldId="2885"/>
        </pc:sldMkLst>
      </pc:sldChg>
    </pc:docChg>
  </pc:docChgLst>
  <pc:docChgLst>
    <pc:chgData name="Aurelien Domont" userId="6da7715ce44349b3" providerId="LiveId" clId="{41F0A500-E4ED-4805-8D84-F6050E0C1B79}"/>
    <pc:docChg chg="undo custSel addSld delSld modSld">
      <pc:chgData name="Aurelien Domont" userId="6da7715ce44349b3" providerId="LiveId" clId="{41F0A500-E4ED-4805-8D84-F6050E0C1B79}" dt="2023-02-16T04:22:23.782" v="177" actId="20577"/>
      <pc:docMkLst>
        <pc:docMk/>
      </pc:docMkLst>
      <pc:sldChg chg="modSp mod">
        <pc:chgData name="Aurelien Domont" userId="6da7715ce44349b3" providerId="LiveId" clId="{41F0A500-E4ED-4805-8D84-F6050E0C1B79}" dt="2023-02-16T03:03:14.789" v="53" actId="113"/>
        <pc:sldMkLst>
          <pc:docMk/>
          <pc:sldMk cId="3131901387" sldId="256"/>
        </pc:sldMkLst>
        <pc:spChg chg="mod">
          <ac:chgData name="Aurelien Domont" userId="6da7715ce44349b3" providerId="LiveId" clId="{41F0A500-E4ED-4805-8D84-F6050E0C1B79}" dt="2023-02-16T03:03:14.789" v="53" actId="113"/>
          <ac:spMkLst>
            <pc:docMk/>
            <pc:sldMk cId="3131901387" sldId="256"/>
            <ac:spMk id="2" creationId="{5261080C-C60C-4746-B6B1-A9A4FFA86785}"/>
          </ac:spMkLst>
        </pc:spChg>
      </pc:sldChg>
      <pc:sldChg chg="add">
        <pc:chgData name="Aurelien Domont" userId="6da7715ce44349b3" providerId="LiveId" clId="{41F0A500-E4ED-4805-8D84-F6050E0C1B79}" dt="2023-02-16T03:35:47.668" v="87"/>
        <pc:sldMkLst>
          <pc:docMk/>
          <pc:sldMk cId="1754585881" sldId="1598"/>
        </pc:sldMkLst>
      </pc:sldChg>
      <pc:sldChg chg="add del">
        <pc:chgData name="Aurelien Domont" userId="6da7715ce44349b3" providerId="LiveId" clId="{41F0A500-E4ED-4805-8D84-F6050E0C1B79}" dt="2023-02-16T03:35:47.668" v="87"/>
        <pc:sldMkLst>
          <pc:docMk/>
          <pc:sldMk cId="2853806433" sldId="1600"/>
        </pc:sldMkLst>
      </pc:sldChg>
      <pc:sldChg chg="add">
        <pc:chgData name="Aurelien Domont" userId="6da7715ce44349b3" providerId="LiveId" clId="{41F0A500-E4ED-4805-8D84-F6050E0C1B79}" dt="2023-02-16T03:35:47.668" v="87"/>
        <pc:sldMkLst>
          <pc:docMk/>
          <pc:sldMk cId="1252826214" sldId="1711"/>
        </pc:sldMkLst>
      </pc:sldChg>
      <pc:sldChg chg="del">
        <pc:chgData name="Aurelien Domont" userId="6da7715ce44349b3" providerId="LiveId" clId="{41F0A500-E4ED-4805-8D84-F6050E0C1B79}" dt="2023-02-16T03:27:43.943" v="76" actId="47"/>
        <pc:sldMkLst>
          <pc:docMk/>
          <pc:sldMk cId="1253290912" sldId="1747"/>
        </pc:sldMkLst>
      </pc:sldChg>
      <pc:sldChg chg="del">
        <pc:chgData name="Aurelien Domont" userId="6da7715ce44349b3" providerId="LiveId" clId="{41F0A500-E4ED-4805-8D84-F6050E0C1B79}" dt="2023-02-16T03:27:43.943" v="76" actId="47"/>
        <pc:sldMkLst>
          <pc:docMk/>
          <pc:sldMk cId="317099162" sldId="1749"/>
        </pc:sldMkLst>
      </pc:sldChg>
      <pc:sldChg chg="del">
        <pc:chgData name="Aurelien Domont" userId="6da7715ce44349b3" providerId="LiveId" clId="{41F0A500-E4ED-4805-8D84-F6050E0C1B79}" dt="2023-02-16T03:28:03" v="77" actId="47"/>
        <pc:sldMkLst>
          <pc:docMk/>
          <pc:sldMk cId="3855801452" sldId="1787"/>
        </pc:sldMkLst>
      </pc:sldChg>
      <pc:sldChg chg="del">
        <pc:chgData name="Aurelien Domont" userId="6da7715ce44349b3" providerId="LiveId" clId="{41F0A500-E4ED-4805-8D84-F6050E0C1B79}" dt="2023-02-16T03:28:03" v="77" actId="47"/>
        <pc:sldMkLst>
          <pc:docMk/>
          <pc:sldMk cId="4009885783" sldId="1788"/>
        </pc:sldMkLst>
      </pc:sldChg>
      <pc:sldChg chg="del">
        <pc:chgData name="Aurelien Domont" userId="6da7715ce44349b3" providerId="LiveId" clId="{41F0A500-E4ED-4805-8D84-F6050E0C1B79}" dt="2023-02-16T03:28:03" v="77" actId="47"/>
        <pc:sldMkLst>
          <pc:docMk/>
          <pc:sldMk cId="1714268045" sldId="1789"/>
        </pc:sldMkLst>
      </pc:sldChg>
      <pc:sldChg chg="del">
        <pc:chgData name="Aurelien Domont" userId="6da7715ce44349b3" providerId="LiveId" clId="{41F0A500-E4ED-4805-8D84-F6050E0C1B79}" dt="2023-02-16T03:11:56.728" v="70" actId="47"/>
        <pc:sldMkLst>
          <pc:docMk/>
          <pc:sldMk cId="1675062303" sldId="1929"/>
        </pc:sldMkLst>
      </pc:sldChg>
      <pc:sldChg chg="del">
        <pc:chgData name="Aurelien Domont" userId="6da7715ce44349b3" providerId="LiveId" clId="{41F0A500-E4ED-4805-8D84-F6050E0C1B79}" dt="2023-02-16T03:11:56.728" v="70" actId="47"/>
        <pc:sldMkLst>
          <pc:docMk/>
          <pc:sldMk cId="471658671" sldId="1930"/>
        </pc:sldMkLst>
      </pc:sldChg>
      <pc:sldChg chg="addSp delSp modSp add mod">
        <pc:chgData name="Aurelien Domont" userId="6da7715ce44349b3" providerId="LiveId" clId="{41F0A500-E4ED-4805-8D84-F6050E0C1B79}" dt="2023-02-16T04:20:19.686" v="173" actId="2"/>
        <pc:sldMkLst>
          <pc:docMk/>
          <pc:sldMk cId="3938337455" sldId="2034"/>
        </pc:sldMkLst>
        <pc:spChg chg="mod">
          <ac:chgData name="Aurelien Domont" userId="6da7715ce44349b3" providerId="LiveId" clId="{41F0A500-E4ED-4805-8D84-F6050E0C1B79}" dt="2023-02-16T03:38:31.886" v="103" actId="113"/>
          <ac:spMkLst>
            <pc:docMk/>
            <pc:sldMk cId="3938337455" sldId="2034"/>
            <ac:spMk id="5" creationId="{EDA73FF4-2B75-2B48-884E-4130B509A68A}"/>
          </ac:spMkLst>
        </pc:spChg>
        <pc:spChg chg="mod">
          <ac:chgData name="Aurelien Domont" userId="6da7715ce44349b3" providerId="LiveId" clId="{41F0A500-E4ED-4805-8D84-F6050E0C1B79}" dt="2023-02-16T03:40:02.205" v="126" actId="208"/>
          <ac:spMkLst>
            <pc:docMk/>
            <pc:sldMk cId="3938337455" sldId="2034"/>
            <ac:spMk id="6" creationId="{7077FF90-18B3-4753-AB03-EA70B19442E9}"/>
          </ac:spMkLst>
        </pc:spChg>
        <pc:spChg chg="add del">
          <ac:chgData name="Aurelien Domont" userId="6da7715ce44349b3" providerId="LiveId" clId="{41F0A500-E4ED-4805-8D84-F6050E0C1B79}" dt="2023-02-16T03:38:58.346" v="112"/>
          <ac:spMkLst>
            <pc:docMk/>
            <pc:sldMk cId="3938337455" sldId="2034"/>
            <ac:spMk id="7" creationId="{F63335C9-97E8-707E-BF2E-62A1F3A19229}"/>
          </ac:spMkLst>
        </pc:spChg>
        <pc:spChg chg="mod">
          <ac:chgData name="Aurelien Domont" userId="6da7715ce44349b3" providerId="LiveId" clId="{41F0A500-E4ED-4805-8D84-F6050E0C1B79}" dt="2023-02-16T03:40:02.205" v="126" actId="208"/>
          <ac:spMkLst>
            <pc:docMk/>
            <pc:sldMk cId="3938337455" sldId="2034"/>
            <ac:spMk id="24" creationId="{10FC36E4-FF69-4225-8CCB-04169852A81D}"/>
          </ac:spMkLst>
        </pc:spChg>
        <pc:spChg chg="mod">
          <ac:chgData name="Aurelien Domont" userId="6da7715ce44349b3" providerId="LiveId" clId="{41F0A500-E4ED-4805-8D84-F6050E0C1B79}" dt="2023-02-16T03:40:02.205" v="126" actId="208"/>
          <ac:spMkLst>
            <pc:docMk/>
            <pc:sldMk cId="3938337455" sldId="2034"/>
            <ac:spMk id="25" creationId="{00620D10-048E-48D9-A2B4-B60613B1CC93}"/>
          </ac:spMkLst>
        </pc:spChg>
        <pc:spChg chg="mod">
          <ac:chgData name="Aurelien Domont" userId="6da7715ce44349b3" providerId="LiveId" clId="{41F0A500-E4ED-4805-8D84-F6050E0C1B79}" dt="2023-02-16T04:20:14.802" v="172" actId="313"/>
          <ac:spMkLst>
            <pc:docMk/>
            <pc:sldMk cId="3938337455" sldId="2034"/>
            <ac:spMk id="47" creationId="{2294D629-5734-4E8A-ACBC-857B7249F5A5}"/>
          </ac:spMkLst>
        </pc:spChg>
        <pc:spChg chg="mod">
          <ac:chgData name="Aurelien Domont" userId="6da7715ce44349b3" providerId="LiveId" clId="{41F0A500-E4ED-4805-8D84-F6050E0C1B79}" dt="2023-02-16T03:38:30.317" v="102" actId="113"/>
          <ac:spMkLst>
            <pc:docMk/>
            <pc:sldMk cId="3938337455" sldId="2034"/>
            <ac:spMk id="48" creationId="{971D573A-5304-4C92-8CB7-47985CE6549D}"/>
          </ac:spMkLst>
        </pc:spChg>
        <pc:spChg chg="mod">
          <ac:chgData name="Aurelien Domont" userId="6da7715ce44349b3" providerId="LiveId" clId="{41F0A500-E4ED-4805-8D84-F6050E0C1B79}" dt="2023-02-16T03:38:38.741" v="107" actId="113"/>
          <ac:spMkLst>
            <pc:docMk/>
            <pc:sldMk cId="3938337455" sldId="2034"/>
            <ac:spMk id="49" creationId="{5CF30ED3-F54D-472F-8C3E-5A39BAB8D140}"/>
          </ac:spMkLst>
        </pc:spChg>
        <pc:spChg chg="mod">
          <ac:chgData name="Aurelien Domont" userId="6da7715ce44349b3" providerId="LiveId" clId="{41F0A500-E4ED-4805-8D84-F6050E0C1B79}" dt="2023-02-16T04:20:19.686" v="173" actId="2"/>
          <ac:spMkLst>
            <pc:docMk/>
            <pc:sldMk cId="3938337455" sldId="2034"/>
            <ac:spMk id="50" creationId="{360D60BA-ED17-4774-B45A-F73EBAE34844}"/>
          </ac:spMkLst>
        </pc:spChg>
        <pc:spChg chg="mod">
          <ac:chgData name="Aurelien Domont" userId="6da7715ce44349b3" providerId="LiveId" clId="{41F0A500-E4ED-4805-8D84-F6050E0C1B79}" dt="2023-02-16T03:38:42.026" v="108" actId="113"/>
          <ac:spMkLst>
            <pc:docMk/>
            <pc:sldMk cId="3938337455" sldId="2034"/>
            <ac:spMk id="52" creationId="{99AA9153-C633-4C31-9E9A-0948942A95C9}"/>
          </ac:spMkLst>
        </pc:spChg>
        <pc:spChg chg="mod">
          <ac:chgData name="Aurelien Domont" userId="6da7715ce44349b3" providerId="LiveId" clId="{41F0A500-E4ED-4805-8D84-F6050E0C1B79}" dt="2023-02-16T03:38:27.617" v="101" actId="113"/>
          <ac:spMkLst>
            <pc:docMk/>
            <pc:sldMk cId="3938337455" sldId="2034"/>
            <ac:spMk id="53" creationId="{B2ED7A07-F9BD-4DB4-A9C5-B3108D40701B}"/>
          </ac:spMkLst>
        </pc:spChg>
        <pc:spChg chg="mod">
          <ac:chgData name="Aurelien Domont" userId="6da7715ce44349b3" providerId="LiveId" clId="{41F0A500-E4ED-4805-8D84-F6050E0C1B79}" dt="2023-02-16T03:38:35.952" v="106" actId="113"/>
          <ac:spMkLst>
            <pc:docMk/>
            <pc:sldMk cId="3938337455" sldId="2034"/>
            <ac:spMk id="54" creationId="{F2CB5A07-4EE0-490C-BC2F-099732840F2C}"/>
          </ac:spMkLst>
        </pc:spChg>
        <pc:spChg chg="mod">
          <ac:chgData name="Aurelien Domont" userId="6da7715ce44349b3" providerId="LiveId" clId="{41F0A500-E4ED-4805-8D84-F6050E0C1B79}" dt="2023-02-16T03:38:44.729" v="109" actId="113"/>
          <ac:spMkLst>
            <pc:docMk/>
            <pc:sldMk cId="3938337455" sldId="2034"/>
            <ac:spMk id="55" creationId="{DC0B345B-A8EC-4E95-8CAC-E5322CA56717}"/>
          </ac:spMkLst>
        </pc:spChg>
        <pc:picChg chg="add del">
          <ac:chgData name="Aurelien Domont" userId="6da7715ce44349b3" providerId="LiveId" clId="{41F0A500-E4ED-4805-8D84-F6050E0C1B79}" dt="2023-02-16T03:39:02.111" v="114" actId="478"/>
          <ac:picMkLst>
            <pc:docMk/>
            <pc:sldMk cId="3938337455" sldId="2034"/>
            <ac:picMk id="8" creationId="{468045FB-C4DC-3F5E-2256-05079F208973}"/>
          </ac:picMkLst>
        </pc:picChg>
        <pc:picChg chg="add mod">
          <ac:chgData name="Aurelien Domont" userId="6da7715ce44349b3" providerId="LiveId" clId="{41F0A500-E4ED-4805-8D84-F6050E0C1B79}" dt="2023-02-16T03:39:42.066" v="124" actId="1076"/>
          <ac:picMkLst>
            <pc:docMk/>
            <pc:sldMk cId="3938337455" sldId="2034"/>
            <ac:picMk id="11" creationId="{E8463B65-62CD-B971-73FE-9B07ECD3C802}"/>
          </ac:picMkLst>
        </pc:picChg>
        <pc:picChg chg="add mod">
          <ac:chgData name="Aurelien Domont" userId="6da7715ce44349b3" providerId="LiveId" clId="{41F0A500-E4ED-4805-8D84-F6050E0C1B79}" dt="2023-02-16T03:39:37.199" v="122" actId="1076"/>
          <ac:picMkLst>
            <pc:docMk/>
            <pc:sldMk cId="3938337455" sldId="2034"/>
            <ac:picMk id="13" creationId="{AD40B5E2-343D-B45B-F379-B6A2CF6F2F26}"/>
          </ac:picMkLst>
        </pc:picChg>
        <pc:picChg chg="del">
          <ac:chgData name="Aurelien Domont" userId="6da7715ce44349b3" providerId="LiveId" clId="{41F0A500-E4ED-4805-8D84-F6050E0C1B79}" dt="2023-02-16T03:39:03.438" v="115" actId="478"/>
          <ac:picMkLst>
            <pc:docMk/>
            <pc:sldMk cId="3938337455" sldId="2034"/>
            <ac:picMk id="18" creationId="{9FC40686-C658-407F-BDA4-C822A2049D77}"/>
          </ac:picMkLst>
        </pc:picChg>
        <pc:picChg chg="del">
          <ac:chgData name="Aurelien Domont" userId="6da7715ce44349b3" providerId="LiveId" clId="{41F0A500-E4ED-4805-8D84-F6050E0C1B79}" dt="2023-02-16T03:38:50.893" v="110" actId="478"/>
          <ac:picMkLst>
            <pc:docMk/>
            <pc:sldMk cId="3938337455" sldId="2034"/>
            <ac:picMk id="57" creationId="{0D0522DE-41AB-44CB-87E5-1CCD549ED18C}"/>
          </ac:picMkLst>
        </pc:picChg>
      </pc:sldChg>
      <pc:sldChg chg="add">
        <pc:chgData name="Aurelien Domont" userId="6da7715ce44349b3" providerId="LiveId" clId="{41F0A500-E4ED-4805-8D84-F6050E0C1B79}" dt="2023-02-16T03:35:47.668" v="87"/>
        <pc:sldMkLst>
          <pc:docMk/>
          <pc:sldMk cId="1926619926" sldId="2147"/>
        </pc:sldMkLst>
      </pc:sldChg>
      <pc:sldChg chg="del">
        <pc:chgData name="Aurelien Domont" userId="6da7715ce44349b3" providerId="LiveId" clId="{41F0A500-E4ED-4805-8D84-F6050E0C1B79}" dt="2023-02-16T03:11:56.728" v="70" actId="47"/>
        <pc:sldMkLst>
          <pc:docMk/>
          <pc:sldMk cId="423301223" sldId="2148"/>
        </pc:sldMkLst>
      </pc:sldChg>
      <pc:sldChg chg="del">
        <pc:chgData name="Aurelien Domont" userId="6da7715ce44349b3" providerId="LiveId" clId="{41F0A500-E4ED-4805-8D84-F6050E0C1B79}" dt="2023-02-16T03:11:56.728" v="70" actId="47"/>
        <pc:sldMkLst>
          <pc:docMk/>
          <pc:sldMk cId="1324642353" sldId="2152"/>
        </pc:sldMkLst>
      </pc:sldChg>
      <pc:sldChg chg="del">
        <pc:chgData name="Aurelien Domont" userId="6da7715ce44349b3" providerId="LiveId" clId="{41F0A500-E4ED-4805-8D84-F6050E0C1B79}" dt="2023-02-16T03:11:56.728" v="70" actId="47"/>
        <pc:sldMkLst>
          <pc:docMk/>
          <pc:sldMk cId="2226532108" sldId="2153"/>
        </pc:sldMkLst>
      </pc:sldChg>
      <pc:sldChg chg="del">
        <pc:chgData name="Aurelien Domont" userId="6da7715ce44349b3" providerId="LiveId" clId="{41F0A500-E4ED-4805-8D84-F6050E0C1B79}" dt="2023-02-16T03:11:56.728" v="70" actId="47"/>
        <pc:sldMkLst>
          <pc:docMk/>
          <pc:sldMk cId="3613236081" sldId="2154"/>
        </pc:sldMkLst>
      </pc:sldChg>
      <pc:sldChg chg="del">
        <pc:chgData name="Aurelien Domont" userId="6da7715ce44349b3" providerId="LiveId" clId="{41F0A500-E4ED-4805-8D84-F6050E0C1B79}" dt="2023-02-16T03:11:56.728" v="70" actId="47"/>
        <pc:sldMkLst>
          <pc:docMk/>
          <pc:sldMk cId="3175191540" sldId="2155"/>
        </pc:sldMkLst>
      </pc:sldChg>
      <pc:sldChg chg="addSp delSp modSp add mod">
        <pc:chgData name="Aurelien Domont" userId="6da7715ce44349b3" providerId="LiveId" clId="{41F0A500-E4ED-4805-8D84-F6050E0C1B79}" dt="2023-02-16T04:22:23.782" v="177" actId="20577"/>
        <pc:sldMkLst>
          <pc:docMk/>
          <pc:sldMk cId="1209091634" sldId="2192"/>
        </pc:sldMkLst>
        <pc:spChg chg="del">
          <ac:chgData name="Aurelien Domont" userId="6da7715ce44349b3" providerId="LiveId" clId="{41F0A500-E4ED-4805-8D84-F6050E0C1B79}" dt="2023-02-16T03:45:01.507" v="154" actId="478"/>
          <ac:spMkLst>
            <pc:docMk/>
            <pc:sldMk cId="1209091634" sldId="2192"/>
            <ac:spMk id="2" creationId="{22F184F3-7800-49B9-9809-C6E29F0E77A3}"/>
          </ac:spMkLst>
        </pc:spChg>
        <pc:spChg chg="del">
          <ac:chgData name="Aurelien Domont" userId="6da7715ce44349b3" providerId="LiveId" clId="{41F0A500-E4ED-4805-8D84-F6050E0C1B79}" dt="2023-02-16T03:45:01.507" v="154" actId="478"/>
          <ac:spMkLst>
            <pc:docMk/>
            <pc:sldMk cId="1209091634" sldId="2192"/>
            <ac:spMk id="3" creationId="{89871E1D-85DF-4A1A-B6B2-A8DDC4C5192D}"/>
          </ac:spMkLst>
        </pc:spChg>
        <pc:spChg chg="add mod">
          <ac:chgData name="Aurelien Domont" userId="6da7715ce44349b3" providerId="LiveId" clId="{41F0A500-E4ED-4805-8D84-F6050E0C1B79}" dt="2023-02-16T03:45:02.158" v="155"/>
          <ac:spMkLst>
            <pc:docMk/>
            <pc:sldMk cId="1209091634" sldId="2192"/>
            <ac:spMk id="6" creationId="{C605CC84-CD60-2183-599A-E6A6A57FFE7C}"/>
          </ac:spMkLst>
        </pc:spChg>
        <pc:spChg chg="del">
          <ac:chgData name="Aurelien Domont" userId="6da7715ce44349b3" providerId="LiveId" clId="{41F0A500-E4ED-4805-8D84-F6050E0C1B79}" dt="2023-02-16T03:45:01.507" v="154" actId="478"/>
          <ac:spMkLst>
            <pc:docMk/>
            <pc:sldMk cId="1209091634" sldId="2192"/>
            <ac:spMk id="7" creationId="{CC1E6177-3FF8-E597-12F0-F519240BD4AE}"/>
          </ac:spMkLst>
        </pc:spChg>
        <pc:spChg chg="add mod">
          <ac:chgData name="Aurelien Domont" userId="6da7715ce44349b3" providerId="LiveId" clId="{41F0A500-E4ED-4805-8D84-F6050E0C1B79}" dt="2023-02-16T03:45:02.158" v="155"/>
          <ac:spMkLst>
            <pc:docMk/>
            <pc:sldMk cId="1209091634" sldId="2192"/>
            <ac:spMk id="9" creationId="{E91A2A71-F788-96FD-822E-9586ABCF552D}"/>
          </ac:spMkLst>
        </pc:spChg>
        <pc:spChg chg="add mod">
          <ac:chgData name="Aurelien Domont" userId="6da7715ce44349b3" providerId="LiveId" clId="{41F0A500-E4ED-4805-8D84-F6050E0C1B79}" dt="2023-02-16T03:45:02.158" v="155"/>
          <ac:spMkLst>
            <pc:docMk/>
            <pc:sldMk cId="1209091634" sldId="2192"/>
            <ac:spMk id="14" creationId="{6068A606-EB4C-563E-F148-01D57718957B}"/>
          </ac:spMkLst>
        </pc:spChg>
        <pc:spChg chg="add mod">
          <ac:chgData name="Aurelien Domont" userId="6da7715ce44349b3" providerId="LiveId" clId="{41F0A500-E4ED-4805-8D84-F6050E0C1B79}" dt="2023-02-16T03:45:02.158" v="155"/>
          <ac:spMkLst>
            <pc:docMk/>
            <pc:sldMk cId="1209091634" sldId="2192"/>
            <ac:spMk id="15" creationId="{E73620C0-8D32-9E90-575E-02C2C2757545}"/>
          </ac:spMkLst>
        </pc:spChg>
        <pc:spChg chg="mod">
          <ac:chgData name="Aurelien Domont" userId="6da7715ce44349b3" providerId="LiveId" clId="{41F0A500-E4ED-4805-8D84-F6050E0C1B79}" dt="2023-02-16T04:22:23.782" v="177" actId="20577"/>
          <ac:spMkLst>
            <pc:docMk/>
            <pc:sldMk cId="1209091634" sldId="2192"/>
            <ac:spMk id="16" creationId="{6C2BB713-9637-4B9B-938F-E9768876782A}"/>
          </ac:spMkLst>
        </pc:spChg>
        <pc:spChg chg="add mod">
          <ac:chgData name="Aurelien Domont" userId="6da7715ce44349b3" providerId="LiveId" clId="{41F0A500-E4ED-4805-8D84-F6050E0C1B79}" dt="2023-02-16T03:45:02.158" v="155"/>
          <ac:spMkLst>
            <pc:docMk/>
            <pc:sldMk cId="1209091634" sldId="2192"/>
            <ac:spMk id="17" creationId="{E752C753-C38C-30A7-3145-D386DAA0D10C}"/>
          </ac:spMkLst>
        </pc:spChg>
        <pc:spChg chg="add mod">
          <ac:chgData name="Aurelien Domont" userId="6da7715ce44349b3" providerId="LiveId" clId="{41F0A500-E4ED-4805-8D84-F6050E0C1B79}" dt="2023-02-16T03:45:02.158" v="155"/>
          <ac:spMkLst>
            <pc:docMk/>
            <pc:sldMk cId="1209091634" sldId="2192"/>
            <ac:spMk id="19" creationId="{6E3FE145-9D78-3FB6-D28D-681918FA0078}"/>
          </ac:spMkLst>
        </pc:spChg>
        <pc:spChg chg="del">
          <ac:chgData name="Aurelien Domont" userId="6da7715ce44349b3" providerId="LiveId" clId="{41F0A500-E4ED-4805-8D84-F6050E0C1B79}" dt="2023-02-16T03:45:01.507" v="154" actId="478"/>
          <ac:spMkLst>
            <pc:docMk/>
            <pc:sldMk cId="1209091634" sldId="2192"/>
            <ac:spMk id="20" creationId="{551E37A9-8517-586E-523C-4E320698FF3F}"/>
          </ac:spMkLst>
        </pc:spChg>
        <pc:spChg chg="del">
          <ac:chgData name="Aurelien Domont" userId="6da7715ce44349b3" providerId="LiveId" clId="{41F0A500-E4ED-4805-8D84-F6050E0C1B79}" dt="2023-02-16T03:45:01.507" v="154" actId="478"/>
          <ac:spMkLst>
            <pc:docMk/>
            <pc:sldMk cId="1209091634" sldId="2192"/>
            <ac:spMk id="21" creationId="{79477008-AD07-7007-6E51-2C094AF68717}"/>
          </ac:spMkLst>
        </pc:spChg>
        <pc:spChg chg="add mod">
          <ac:chgData name="Aurelien Domont" userId="6da7715ce44349b3" providerId="LiveId" clId="{41F0A500-E4ED-4805-8D84-F6050E0C1B79}" dt="2023-02-16T03:45:02.158" v="155"/>
          <ac:spMkLst>
            <pc:docMk/>
            <pc:sldMk cId="1209091634" sldId="2192"/>
            <ac:spMk id="23" creationId="{5D367FFA-D150-714E-A0A1-13CC7D903132}"/>
          </ac:spMkLst>
        </pc:spChg>
        <pc:spChg chg="del">
          <ac:chgData name="Aurelien Domont" userId="6da7715ce44349b3" providerId="LiveId" clId="{41F0A500-E4ED-4805-8D84-F6050E0C1B79}" dt="2023-02-16T03:45:01.507" v="154" actId="478"/>
          <ac:spMkLst>
            <pc:docMk/>
            <pc:sldMk cId="1209091634" sldId="2192"/>
            <ac:spMk id="24" creationId="{11649953-F81A-7EEC-2114-836218E7ADFC}"/>
          </ac:spMkLst>
        </pc:spChg>
        <pc:spChg chg="del">
          <ac:chgData name="Aurelien Domont" userId="6da7715ce44349b3" providerId="LiveId" clId="{41F0A500-E4ED-4805-8D84-F6050E0C1B79}" dt="2023-02-16T03:45:01.507" v="154" actId="478"/>
          <ac:spMkLst>
            <pc:docMk/>
            <pc:sldMk cId="1209091634" sldId="2192"/>
            <ac:spMk id="27" creationId="{022F9676-1CDA-4501-AB55-94D67867C319}"/>
          </ac:spMkLst>
        </pc:spChg>
        <pc:spChg chg="add mod">
          <ac:chgData name="Aurelien Domont" userId="6da7715ce44349b3" providerId="LiveId" clId="{41F0A500-E4ED-4805-8D84-F6050E0C1B79}" dt="2023-02-16T03:45:02.158" v="155"/>
          <ac:spMkLst>
            <pc:docMk/>
            <pc:sldMk cId="1209091634" sldId="2192"/>
            <ac:spMk id="28" creationId="{6A3DD4BA-3C1E-EC8A-8825-38A45E17EF13}"/>
          </ac:spMkLst>
        </pc:spChg>
        <pc:spChg chg="add mod">
          <ac:chgData name="Aurelien Domont" userId="6da7715ce44349b3" providerId="LiveId" clId="{41F0A500-E4ED-4805-8D84-F6050E0C1B79}" dt="2023-02-16T03:45:02.158" v="155"/>
          <ac:spMkLst>
            <pc:docMk/>
            <pc:sldMk cId="1209091634" sldId="2192"/>
            <ac:spMk id="32" creationId="{D10E42B8-1635-FDD1-D6D1-186F18320CAB}"/>
          </ac:spMkLst>
        </pc:spChg>
        <pc:spChg chg="add mod">
          <ac:chgData name="Aurelien Domont" userId="6da7715ce44349b3" providerId="LiveId" clId="{41F0A500-E4ED-4805-8D84-F6050E0C1B79}" dt="2023-02-16T03:45:02.158" v="155"/>
          <ac:spMkLst>
            <pc:docMk/>
            <pc:sldMk cId="1209091634" sldId="2192"/>
            <ac:spMk id="33" creationId="{F635076D-2DF4-A820-DB09-DEEEDB8DC01A}"/>
          </ac:spMkLst>
        </pc:spChg>
        <pc:spChg chg="add mod">
          <ac:chgData name="Aurelien Domont" userId="6da7715ce44349b3" providerId="LiveId" clId="{41F0A500-E4ED-4805-8D84-F6050E0C1B79}" dt="2023-02-16T03:45:02.158" v="155"/>
          <ac:spMkLst>
            <pc:docMk/>
            <pc:sldMk cId="1209091634" sldId="2192"/>
            <ac:spMk id="35" creationId="{0247F946-4769-6745-A3EC-BA419DE10F73}"/>
          </ac:spMkLst>
        </pc:spChg>
        <pc:spChg chg="add mod">
          <ac:chgData name="Aurelien Domont" userId="6da7715ce44349b3" providerId="LiveId" clId="{41F0A500-E4ED-4805-8D84-F6050E0C1B79}" dt="2023-02-16T03:45:02.158" v="155"/>
          <ac:spMkLst>
            <pc:docMk/>
            <pc:sldMk cId="1209091634" sldId="2192"/>
            <ac:spMk id="36" creationId="{71723C2C-B247-3C64-5A0E-AEEADFCD61A1}"/>
          </ac:spMkLst>
        </pc:spChg>
        <pc:spChg chg="add mod">
          <ac:chgData name="Aurelien Domont" userId="6da7715ce44349b3" providerId="LiveId" clId="{41F0A500-E4ED-4805-8D84-F6050E0C1B79}" dt="2023-02-16T03:45:02.158" v="155"/>
          <ac:spMkLst>
            <pc:docMk/>
            <pc:sldMk cId="1209091634" sldId="2192"/>
            <ac:spMk id="37" creationId="{E8371282-8404-665D-E7E0-708C8B8FA52A}"/>
          </ac:spMkLst>
        </pc:spChg>
        <pc:spChg chg="add mod">
          <ac:chgData name="Aurelien Domont" userId="6da7715ce44349b3" providerId="LiveId" clId="{41F0A500-E4ED-4805-8D84-F6050E0C1B79}" dt="2023-02-16T03:45:02.158" v="155"/>
          <ac:spMkLst>
            <pc:docMk/>
            <pc:sldMk cId="1209091634" sldId="2192"/>
            <ac:spMk id="38" creationId="{0998B4A5-CA0D-57FC-7A27-DB793E334C4E}"/>
          </ac:spMkLst>
        </pc:spChg>
        <pc:spChg chg="add mod">
          <ac:chgData name="Aurelien Domont" userId="6da7715ce44349b3" providerId="LiveId" clId="{41F0A500-E4ED-4805-8D84-F6050E0C1B79}" dt="2023-02-16T03:45:02.158" v="155"/>
          <ac:spMkLst>
            <pc:docMk/>
            <pc:sldMk cId="1209091634" sldId="2192"/>
            <ac:spMk id="39" creationId="{1C97A1EC-5D90-2CE6-4873-0C4DF4620D72}"/>
          </ac:spMkLst>
        </pc:spChg>
        <pc:spChg chg="del">
          <ac:chgData name="Aurelien Domont" userId="6da7715ce44349b3" providerId="LiveId" clId="{41F0A500-E4ED-4805-8D84-F6050E0C1B79}" dt="2023-02-16T03:45:01.507" v="154" actId="478"/>
          <ac:spMkLst>
            <pc:docMk/>
            <pc:sldMk cId="1209091634" sldId="2192"/>
            <ac:spMk id="40" creationId="{FEDB459F-A4B8-4765-B92A-8FA0C8E5F993}"/>
          </ac:spMkLst>
        </pc:spChg>
        <pc:spChg chg="add mod">
          <ac:chgData name="Aurelien Domont" userId="6da7715ce44349b3" providerId="LiveId" clId="{41F0A500-E4ED-4805-8D84-F6050E0C1B79}" dt="2023-02-16T03:45:02.158" v="155"/>
          <ac:spMkLst>
            <pc:docMk/>
            <pc:sldMk cId="1209091634" sldId="2192"/>
            <ac:spMk id="42" creationId="{BC5BA055-EB0B-078D-B675-8236F138BA91}"/>
          </ac:spMkLst>
        </pc:spChg>
        <pc:spChg chg="del">
          <ac:chgData name="Aurelien Domont" userId="6da7715ce44349b3" providerId="LiveId" clId="{41F0A500-E4ED-4805-8D84-F6050E0C1B79}" dt="2023-02-16T03:45:01.507" v="154" actId="478"/>
          <ac:spMkLst>
            <pc:docMk/>
            <pc:sldMk cId="1209091634" sldId="2192"/>
            <ac:spMk id="45" creationId="{66C5F612-5A89-4C48-BDA9-92B6DBF678F8}"/>
          </ac:spMkLst>
        </pc:spChg>
        <pc:spChg chg="del">
          <ac:chgData name="Aurelien Domont" userId="6da7715ce44349b3" providerId="LiveId" clId="{41F0A500-E4ED-4805-8D84-F6050E0C1B79}" dt="2023-02-16T03:45:01.507" v="154" actId="478"/>
          <ac:spMkLst>
            <pc:docMk/>
            <pc:sldMk cId="1209091634" sldId="2192"/>
            <ac:spMk id="46" creationId="{5EDAE2A3-62C3-43E6-BBF2-1A1A1EBD0B6E}"/>
          </ac:spMkLst>
        </pc:spChg>
        <pc:spChg chg="add mod">
          <ac:chgData name="Aurelien Domont" userId="6da7715ce44349b3" providerId="LiveId" clId="{41F0A500-E4ED-4805-8D84-F6050E0C1B79}" dt="2023-02-16T03:45:02.158" v="155"/>
          <ac:spMkLst>
            <pc:docMk/>
            <pc:sldMk cId="1209091634" sldId="2192"/>
            <ac:spMk id="48" creationId="{4ADD9363-BC80-7BC3-66A2-5647F36B2B41}"/>
          </ac:spMkLst>
        </pc:spChg>
        <pc:spChg chg="add mod">
          <ac:chgData name="Aurelien Domont" userId="6da7715ce44349b3" providerId="LiveId" clId="{41F0A500-E4ED-4805-8D84-F6050E0C1B79}" dt="2023-02-16T03:45:02.158" v="155"/>
          <ac:spMkLst>
            <pc:docMk/>
            <pc:sldMk cId="1209091634" sldId="2192"/>
            <ac:spMk id="49" creationId="{0C41A29C-1853-17BA-6607-C3D51CFCD9E4}"/>
          </ac:spMkLst>
        </pc:spChg>
        <pc:spChg chg="del">
          <ac:chgData name="Aurelien Domont" userId="6da7715ce44349b3" providerId="LiveId" clId="{41F0A500-E4ED-4805-8D84-F6050E0C1B79}" dt="2023-02-16T03:45:01.507" v="154" actId="478"/>
          <ac:spMkLst>
            <pc:docMk/>
            <pc:sldMk cId="1209091634" sldId="2192"/>
            <ac:spMk id="55" creationId="{B19C6AB8-50EC-438D-A446-EAEE49B517D5}"/>
          </ac:spMkLst>
        </pc:spChg>
        <pc:spChg chg="del">
          <ac:chgData name="Aurelien Domont" userId="6da7715ce44349b3" providerId="LiveId" clId="{41F0A500-E4ED-4805-8D84-F6050E0C1B79}" dt="2023-02-16T03:45:01.507" v="154" actId="478"/>
          <ac:spMkLst>
            <pc:docMk/>
            <pc:sldMk cId="1209091634" sldId="2192"/>
            <ac:spMk id="59" creationId="{6C7DF474-2CC1-4311-83D5-C3FE3CC1E30D}"/>
          </ac:spMkLst>
        </pc:spChg>
        <pc:spChg chg="del">
          <ac:chgData name="Aurelien Domont" userId="6da7715ce44349b3" providerId="LiveId" clId="{41F0A500-E4ED-4805-8D84-F6050E0C1B79}" dt="2023-02-16T03:45:01.507" v="154" actId="478"/>
          <ac:spMkLst>
            <pc:docMk/>
            <pc:sldMk cId="1209091634" sldId="2192"/>
            <ac:spMk id="62" creationId="{9EE9DB63-ED4C-4127-B36A-76101EB9CFAD}"/>
          </ac:spMkLst>
        </pc:spChg>
        <pc:spChg chg="del">
          <ac:chgData name="Aurelien Domont" userId="6da7715ce44349b3" providerId="LiveId" clId="{41F0A500-E4ED-4805-8D84-F6050E0C1B79}" dt="2023-02-16T03:45:01.507" v="154" actId="478"/>
          <ac:spMkLst>
            <pc:docMk/>
            <pc:sldMk cId="1209091634" sldId="2192"/>
            <ac:spMk id="65" creationId="{4A3771A8-C5B6-42BD-82C3-A9E412040BEE}"/>
          </ac:spMkLst>
        </pc:spChg>
        <pc:spChg chg="del">
          <ac:chgData name="Aurelien Domont" userId="6da7715ce44349b3" providerId="LiveId" clId="{41F0A500-E4ED-4805-8D84-F6050E0C1B79}" dt="2023-02-16T03:45:01.507" v="154" actId="478"/>
          <ac:spMkLst>
            <pc:docMk/>
            <pc:sldMk cId="1209091634" sldId="2192"/>
            <ac:spMk id="68" creationId="{7B449ECB-2C8B-40FC-93B7-726F4E3E1EE3}"/>
          </ac:spMkLst>
        </pc:spChg>
        <pc:spChg chg="del">
          <ac:chgData name="Aurelien Domont" userId="6da7715ce44349b3" providerId="LiveId" clId="{41F0A500-E4ED-4805-8D84-F6050E0C1B79}" dt="2023-02-16T03:45:01.507" v="154" actId="478"/>
          <ac:spMkLst>
            <pc:docMk/>
            <pc:sldMk cId="1209091634" sldId="2192"/>
            <ac:spMk id="71" creationId="{7A5919BC-6626-464B-B363-D94E4AFEE7B8}"/>
          </ac:spMkLst>
        </pc:spChg>
        <pc:spChg chg="del">
          <ac:chgData name="Aurelien Domont" userId="6da7715ce44349b3" providerId="LiveId" clId="{41F0A500-E4ED-4805-8D84-F6050E0C1B79}" dt="2023-02-16T03:45:01.507" v="154" actId="478"/>
          <ac:spMkLst>
            <pc:docMk/>
            <pc:sldMk cId="1209091634" sldId="2192"/>
            <ac:spMk id="72" creationId="{A5FA095C-E1F2-4060-9576-F3C584F5ED56}"/>
          </ac:spMkLst>
        </pc:spChg>
        <pc:spChg chg="del">
          <ac:chgData name="Aurelien Domont" userId="6da7715ce44349b3" providerId="LiveId" clId="{41F0A500-E4ED-4805-8D84-F6050E0C1B79}" dt="2023-02-16T03:45:01.507" v="154" actId="478"/>
          <ac:spMkLst>
            <pc:docMk/>
            <pc:sldMk cId="1209091634" sldId="2192"/>
            <ac:spMk id="73" creationId="{2B2C1992-D3CE-429D-B1A0-8D95D7D035BF}"/>
          </ac:spMkLst>
        </pc:spChg>
        <pc:picChg chg="del">
          <ac:chgData name="Aurelien Domont" userId="6da7715ce44349b3" providerId="LiveId" clId="{41F0A500-E4ED-4805-8D84-F6050E0C1B79}" dt="2023-02-16T03:45:01.507" v="154" actId="478"/>
          <ac:picMkLst>
            <pc:docMk/>
            <pc:sldMk cId="1209091634" sldId="2192"/>
            <ac:picMk id="4" creationId="{3BDE9E0A-6F80-10ED-BEA3-717668C072C9}"/>
          </ac:picMkLst>
        </pc:picChg>
        <pc:picChg chg="add mod">
          <ac:chgData name="Aurelien Domont" userId="6da7715ce44349b3" providerId="LiveId" clId="{41F0A500-E4ED-4805-8D84-F6050E0C1B79}" dt="2023-02-16T03:45:02.158" v="155"/>
          <ac:picMkLst>
            <pc:docMk/>
            <pc:sldMk cId="1209091634" sldId="2192"/>
            <ac:picMk id="8" creationId="{46857B6E-ADD6-C01C-5B94-AFD63F3B4DF0}"/>
          </ac:picMkLst>
        </pc:picChg>
        <pc:picChg chg="add mod">
          <ac:chgData name="Aurelien Domont" userId="6da7715ce44349b3" providerId="LiveId" clId="{41F0A500-E4ED-4805-8D84-F6050E0C1B79}" dt="2023-02-16T03:45:02.158" v="155"/>
          <ac:picMkLst>
            <pc:docMk/>
            <pc:sldMk cId="1209091634" sldId="2192"/>
            <ac:picMk id="10" creationId="{96891CD2-39AB-3DE5-633A-208CA8F20182}"/>
          </ac:picMkLst>
        </pc:picChg>
        <pc:picChg chg="add mod">
          <ac:chgData name="Aurelien Domont" userId="6da7715ce44349b3" providerId="LiveId" clId="{41F0A500-E4ED-4805-8D84-F6050E0C1B79}" dt="2023-02-16T03:45:02.158" v="155"/>
          <ac:picMkLst>
            <pc:docMk/>
            <pc:sldMk cId="1209091634" sldId="2192"/>
            <ac:picMk id="11" creationId="{221FFAB5-7A8B-96FE-C945-59A605609CC9}"/>
          </ac:picMkLst>
        </pc:picChg>
        <pc:picChg chg="del">
          <ac:chgData name="Aurelien Domont" userId="6da7715ce44349b3" providerId="LiveId" clId="{41F0A500-E4ED-4805-8D84-F6050E0C1B79}" dt="2023-02-16T03:45:01.507" v="154" actId="478"/>
          <ac:picMkLst>
            <pc:docMk/>
            <pc:sldMk cId="1209091634" sldId="2192"/>
            <ac:picMk id="12" creationId="{70AA443A-7C27-58E2-5500-F47658FD329D}"/>
          </ac:picMkLst>
        </pc:picChg>
        <pc:picChg chg="add mod">
          <ac:chgData name="Aurelien Domont" userId="6da7715ce44349b3" providerId="LiveId" clId="{41F0A500-E4ED-4805-8D84-F6050E0C1B79}" dt="2023-02-16T03:45:02.158" v="155"/>
          <ac:picMkLst>
            <pc:docMk/>
            <pc:sldMk cId="1209091634" sldId="2192"/>
            <ac:picMk id="18" creationId="{317D759C-6306-AAEE-BCB3-46DCACD71775}"/>
          </ac:picMkLst>
        </pc:picChg>
        <pc:picChg chg="add mod">
          <ac:chgData name="Aurelien Domont" userId="6da7715ce44349b3" providerId="LiveId" clId="{41F0A500-E4ED-4805-8D84-F6050E0C1B79}" dt="2023-02-16T03:45:02.158" v="155"/>
          <ac:picMkLst>
            <pc:docMk/>
            <pc:sldMk cId="1209091634" sldId="2192"/>
            <ac:picMk id="22" creationId="{F5AA4FD4-3349-195A-825D-EE249BAD061F}"/>
          </ac:picMkLst>
        </pc:picChg>
        <pc:picChg chg="add mod">
          <ac:chgData name="Aurelien Domont" userId="6da7715ce44349b3" providerId="LiveId" clId="{41F0A500-E4ED-4805-8D84-F6050E0C1B79}" dt="2023-02-16T03:45:02.158" v="155"/>
          <ac:picMkLst>
            <pc:docMk/>
            <pc:sldMk cId="1209091634" sldId="2192"/>
            <ac:picMk id="25" creationId="{5E7783D5-2E9F-F4B4-CAC0-AA8F5FEF4B7E}"/>
          </ac:picMkLst>
        </pc:picChg>
        <pc:picChg chg="add mod">
          <ac:chgData name="Aurelien Domont" userId="6da7715ce44349b3" providerId="LiveId" clId="{41F0A500-E4ED-4805-8D84-F6050E0C1B79}" dt="2023-02-16T03:45:02.158" v="155"/>
          <ac:picMkLst>
            <pc:docMk/>
            <pc:sldMk cId="1209091634" sldId="2192"/>
            <ac:picMk id="30" creationId="{5ED6D772-4C35-BBD6-E948-0648C4B2139F}"/>
          </ac:picMkLst>
        </pc:picChg>
        <pc:picChg chg="del">
          <ac:chgData name="Aurelien Domont" userId="6da7715ce44349b3" providerId="LiveId" clId="{41F0A500-E4ED-4805-8D84-F6050E0C1B79}" dt="2023-02-16T03:45:01.507" v="154" actId="478"/>
          <ac:picMkLst>
            <pc:docMk/>
            <pc:sldMk cId="1209091634" sldId="2192"/>
            <ac:picMk id="31" creationId="{89979A0A-C018-44ED-8A86-BF1A8BB599EB}"/>
          </ac:picMkLst>
        </pc:picChg>
        <pc:picChg chg="add mod">
          <ac:chgData name="Aurelien Domont" userId="6da7715ce44349b3" providerId="LiveId" clId="{41F0A500-E4ED-4805-8D84-F6050E0C1B79}" dt="2023-02-16T03:45:02.158" v="155"/>
          <ac:picMkLst>
            <pc:docMk/>
            <pc:sldMk cId="1209091634" sldId="2192"/>
            <ac:picMk id="41" creationId="{34088AEC-83AF-7D8F-D84F-1FA0DEF589EE}"/>
          </ac:picMkLst>
        </pc:picChg>
        <pc:picChg chg="del">
          <ac:chgData name="Aurelien Domont" userId="6da7715ce44349b3" providerId="LiveId" clId="{41F0A500-E4ED-4805-8D84-F6050E0C1B79}" dt="2023-02-16T03:45:01.507" v="154" actId="478"/>
          <ac:picMkLst>
            <pc:docMk/>
            <pc:sldMk cId="1209091634" sldId="2192"/>
            <ac:picMk id="43" creationId="{250E8DD8-D2B2-4AA9-8FCB-518B8D2D5850}"/>
          </ac:picMkLst>
        </pc:picChg>
        <pc:picChg chg="del">
          <ac:chgData name="Aurelien Domont" userId="6da7715ce44349b3" providerId="LiveId" clId="{41F0A500-E4ED-4805-8D84-F6050E0C1B79}" dt="2023-02-16T03:45:01.507" v="154" actId="478"/>
          <ac:picMkLst>
            <pc:docMk/>
            <pc:sldMk cId="1209091634" sldId="2192"/>
            <ac:picMk id="44" creationId="{713EEF7A-E025-4053-86B3-ABF91302CF16}"/>
          </ac:picMkLst>
        </pc:picChg>
        <pc:picChg chg="add mod">
          <ac:chgData name="Aurelien Domont" userId="6da7715ce44349b3" providerId="LiveId" clId="{41F0A500-E4ED-4805-8D84-F6050E0C1B79}" dt="2023-02-16T03:45:02.158" v="155"/>
          <ac:picMkLst>
            <pc:docMk/>
            <pc:sldMk cId="1209091634" sldId="2192"/>
            <ac:picMk id="47" creationId="{45E4EFED-FB45-2A27-9DCF-383C2A0F4A32}"/>
          </ac:picMkLst>
        </pc:picChg>
        <pc:picChg chg="del">
          <ac:chgData name="Aurelien Domont" userId="6da7715ce44349b3" providerId="LiveId" clId="{41F0A500-E4ED-4805-8D84-F6050E0C1B79}" dt="2023-02-16T03:45:01.507" v="154" actId="478"/>
          <ac:picMkLst>
            <pc:docMk/>
            <pc:sldMk cId="1209091634" sldId="2192"/>
            <ac:picMk id="54" creationId="{B481BBB9-8897-4D23-AD98-D58A03A0AB85}"/>
          </ac:picMkLst>
        </pc:picChg>
        <pc:picChg chg="del">
          <ac:chgData name="Aurelien Domont" userId="6da7715ce44349b3" providerId="LiveId" clId="{41F0A500-E4ED-4805-8D84-F6050E0C1B79}" dt="2023-02-16T03:45:01.507" v="154" actId="478"/>
          <ac:picMkLst>
            <pc:docMk/>
            <pc:sldMk cId="1209091634" sldId="2192"/>
            <ac:picMk id="57" creationId="{4F72DDFE-F77B-4791-B57A-7D67C16E5603}"/>
          </ac:picMkLst>
        </pc:picChg>
        <pc:picChg chg="del">
          <ac:chgData name="Aurelien Domont" userId="6da7715ce44349b3" providerId="LiveId" clId="{41F0A500-E4ED-4805-8D84-F6050E0C1B79}" dt="2023-02-16T03:45:01.507" v="154" actId="478"/>
          <ac:picMkLst>
            <pc:docMk/>
            <pc:sldMk cId="1209091634" sldId="2192"/>
            <ac:picMk id="61" creationId="{D3CC5F63-F5D1-4C2F-8D3B-EC726B94E68B}"/>
          </ac:picMkLst>
        </pc:picChg>
        <pc:picChg chg="del">
          <ac:chgData name="Aurelien Domont" userId="6da7715ce44349b3" providerId="LiveId" clId="{41F0A500-E4ED-4805-8D84-F6050E0C1B79}" dt="2023-02-16T03:45:01.507" v="154" actId="478"/>
          <ac:picMkLst>
            <pc:docMk/>
            <pc:sldMk cId="1209091634" sldId="2192"/>
            <ac:picMk id="64" creationId="{5DCDAA2C-7647-447E-9FC0-509979E3A263}"/>
          </ac:picMkLst>
        </pc:picChg>
        <pc:picChg chg="del">
          <ac:chgData name="Aurelien Domont" userId="6da7715ce44349b3" providerId="LiveId" clId="{41F0A500-E4ED-4805-8D84-F6050E0C1B79}" dt="2023-02-16T03:45:01.507" v="154" actId="478"/>
          <ac:picMkLst>
            <pc:docMk/>
            <pc:sldMk cId="1209091634" sldId="2192"/>
            <ac:picMk id="67" creationId="{18B30E08-8105-4C53-B0F0-9D3EC6D4051C}"/>
          </ac:picMkLst>
        </pc:picChg>
        <pc:picChg chg="del">
          <ac:chgData name="Aurelien Domont" userId="6da7715ce44349b3" providerId="LiveId" clId="{41F0A500-E4ED-4805-8D84-F6050E0C1B79}" dt="2023-02-16T03:45:01.507" v="154" actId="478"/>
          <ac:picMkLst>
            <pc:docMk/>
            <pc:sldMk cId="1209091634" sldId="2192"/>
            <ac:picMk id="70" creationId="{66735B97-84A1-43FD-8AC2-9AEADD11D750}"/>
          </ac:picMkLst>
        </pc:picChg>
        <pc:cxnChg chg="del">
          <ac:chgData name="Aurelien Domont" userId="6da7715ce44349b3" providerId="LiveId" clId="{41F0A500-E4ED-4805-8D84-F6050E0C1B79}" dt="2023-02-16T03:45:01.507" v="154" actId="478"/>
          <ac:cxnSpMkLst>
            <pc:docMk/>
            <pc:sldMk cId="1209091634" sldId="2192"/>
            <ac:cxnSpMk id="26" creationId="{797E83DD-3321-C793-6A15-22AA5FB19F72}"/>
          </ac:cxnSpMkLst>
        </pc:cxnChg>
        <pc:cxnChg chg="del">
          <ac:chgData name="Aurelien Domont" userId="6da7715ce44349b3" providerId="LiveId" clId="{41F0A500-E4ED-4805-8D84-F6050E0C1B79}" dt="2023-02-16T03:45:01.507" v="154" actId="478"/>
          <ac:cxnSpMkLst>
            <pc:docMk/>
            <pc:sldMk cId="1209091634" sldId="2192"/>
            <ac:cxnSpMk id="29" creationId="{6D77DCCD-0FBF-CA3A-27A2-D0A2FD392F1B}"/>
          </ac:cxnSpMkLst>
        </pc:cxnChg>
        <pc:cxnChg chg="del">
          <ac:chgData name="Aurelien Domont" userId="6da7715ce44349b3" providerId="LiveId" clId="{41F0A500-E4ED-4805-8D84-F6050E0C1B79}" dt="2023-02-16T03:45:01.507" v="154" actId="478"/>
          <ac:cxnSpMkLst>
            <pc:docMk/>
            <pc:sldMk cId="1209091634" sldId="2192"/>
            <ac:cxnSpMk id="34" creationId="{4F96BCEB-A32F-AABB-BB36-A8F630022008}"/>
          </ac:cxnSpMkLst>
        </pc:cxnChg>
      </pc:sldChg>
      <pc:sldChg chg="add">
        <pc:chgData name="Aurelien Domont" userId="6da7715ce44349b3" providerId="LiveId" clId="{41F0A500-E4ED-4805-8D84-F6050E0C1B79}" dt="2023-02-16T03:35:47.668" v="87"/>
        <pc:sldMkLst>
          <pc:docMk/>
          <pc:sldMk cId="1534399825" sldId="2240"/>
        </pc:sldMkLst>
      </pc:sldChg>
      <pc:sldChg chg="del">
        <pc:chgData name="Aurelien Domont" userId="6da7715ce44349b3" providerId="LiveId" clId="{41F0A500-E4ED-4805-8D84-F6050E0C1B79}" dt="2023-02-16T03:12:45.866" v="72" actId="47"/>
        <pc:sldMkLst>
          <pc:docMk/>
          <pc:sldMk cId="1317447165" sldId="2276"/>
        </pc:sldMkLst>
      </pc:sldChg>
      <pc:sldChg chg="del">
        <pc:chgData name="Aurelien Domont" userId="6da7715ce44349b3" providerId="LiveId" clId="{41F0A500-E4ED-4805-8D84-F6050E0C1B79}" dt="2023-02-16T03:11:33.020" v="69" actId="47"/>
        <pc:sldMkLst>
          <pc:docMk/>
          <pc:sldMk cId="3439488634" sldId="2407"/>
        </pc:sldMkLst>
      </pc:sldChg>
      <pc:sldChg chg="add del">
        <pc:chgData name="Aurelien Domont" userId="6da7715ce44349b3" providerId="LiveId" clId="{41F0A500-E4ED-4805-8D84-F6050E0C1B79}" dt="2023-02-16T03:25:58.578" v="74"/>
        <pc:sldMkLst>
          <pc:docMk/>
          <pc:sldMk cId="1754246506" sldId="2410"/>
        </pc:sldMkLst>
      </pc:sldChg>
      <pc:sldChg chg="del">
        <pc:chgData name="Aurelien Domont" userId="6da7715ce44349b3" providerId="LiveId" clId="{41F0A500-E4ED-4805-8D84-F6050E0C1B79}" dt="2023-02-16T03:25:56.855" v="73" actId="47"/>
        <pc:sldMkLst>
          <pc:docMk/>
          <pc:sldMk cId="1617236116" sldId="2411"/>
        </pc:sldMkLst>
      </pc:sldChg>
      <pc:sldChg chg="add del">
        <pc:chgData name="Aurelien Domont" userId="6da7715ce44349b3" providerId="LiveId" clId="{41F0A500-E4ED-4805-8D84-F6050E0C1B79}" dt="2023-02-16T03:25:58.578" v="74"/>
        <pc:sldMkLst>
          <pc:docMk/>
          <pc:sldMk cId="4164122239" sldId="2412"/>
        </pc:sldMkLst>
      </pc:sldChg>
      <pc:sldChg chg="add del">
        <pc:chgData name="Aurelien Domont" userId="6da7715ce44349b3" providerId="LiveId" clId="{41F0A500-E4ED-4805-8D84-F6050E0C1B79}" dt="2023-02-16T03:25:58.578" v="74"/>
        <pc:sldMkLst>
          <pc:docMk/>
          <pc:sldMk cId="177328719" sldId="2413"/>
        </pc:sldMkLst>
      </pc:sldChg>
      <pc:sldChg chg="delSp mod">
        <pc:chgData name="Aurelien Domont" userId="6da7715ce44349b3" providerId="LiveId" clId="{41F0A500-E4ED-4805-8D84-F6050E0C1B79}" dt="2023-02-16T03:34:04.221" v="85" actId="478"/>
        <pc:sldMkLst>
          <pc:docMk/>
          <pc:sldMk cId="3844453214" sldId="2417"/>
        </pc:sldMkLst>
        <pc:spChg chg="del">
          <ac:chgData name="Aurelien Domont" userId="6da7715ce44349b3" providerId="LiveId" clId="{41F0A500-E4ED-4805-8D84-F6050E0C1B79}" dt="2023-02-16T03:34:04.221" v="85" actId="478"/>
          <ac:spMkLst>
            <pc:docMk/>
            <pc:sldMk cId="3844453214" sldId="2417"/>
            <ac:spMk id="8" creationId="{A59D9EB3-E9B5-436C-B84C-64290C638E46}"/>
          </ac:spMkLst>
        </pc:spChg>
      </pc:sldChg>
      <pc:sldChg chg="del">
        <pc:chgData name="Aurelien Domont" userId="6da7715ce44349b3" providerId="LiveId" clId="{41F0A500-E4ED-4805-8D84-F6050E0C1B79}" dt="2023-02-16T03:28:03" v="77" actId="47"/>
        <pc:sldMkLst>
          <pc:docMk/>
          <pc:sldMk cId="1721775899" sldId="2420"/>
        </pc:sldMkLst>
      </pc:sldChg>
      <pc:sldChg chg="del">
        <pc:chgData name="Aurelien Domont" userId="6da7715ce44349b3" providerId="LiveId" clId="{41F0A500-E4ED-4805-8D84-F6050E0C1B79}" dt="2023-02-16T03:28:03" v="77" actId="47"/>
        <pc:sldMkLst>
          <pc:docMk/>
          <pc:sldMk cId="1972335164" sldId="2421"/>
        </pc:sldMkLst>
      </pc:sldChg>
      <pc:sldChg chg="del">
        <pc:chgData name="Aurelien Domont" userId="6da7715ce44349b3" providerId="LiveId" clId="{41F0A500-E4ED-4805-8D84-F6050E0C1B79}" dt="2023-02-16T03:28:03" v="77" actId="47"/>
        <pc:sldMkLst>
          <pc:docMk/>
          <pc:sldMk cId="4013513185" sldId="2424"/>
        </pc:sldMkLst>
      </pc:sldChg>
      <pc:sldChg chg="del">
        <pc:chgData name="Aurelien Domont" userId="6da7715ce44349b3" providerId="LiveId" clId="{41F0A500-E4ED-4805-8D84-F6050E0C1B79}" dt="2023-02-16T03:28:03" v="77" actId="47"/>
        <pc:sldMkLst>
          <pc:docMk/>
          <pc:sldMk cId="234968368" sldId="2425"/>
        </pc:sldMkLst>
      </pc:sldChg>
      <pc:sldChg chg="del">
        <pc:chgData name="Aurelien Domont" userId="6da7715ce44349b3" providerId="LiveId" clId="{41F0A500-E4ED-4805-8D84-F6050E0C1B79}" dt="2023-02-16T03:28:03" v="77" actId="47"/>
        <pc:sldMkLst>
          <pc:docMk/>
          <pc:sldMk cId="811976027" sldId="2426"/>
        </pc:sldMkLst>
      </pc:sldChg>
      <pc:sldChg chg="del">
        <pc:chgData name="Aurelien Domont" userId="6da7715ce44349b3" providerId="LiveId" clId="{41F0A500-E4ED-4805-8D84-F6050E0C1B79}" dt="2023-02-16T03:28:03" v="77" actId="47"/>
        <pc:sldMkLst>
          <pc:docMk/>
          <pc:sldMk cId="658684134" sldId="2427"/>
        </pc:sldMkLst>
      </pc:sldChg>
      <pc:sldChg chg="del">
        <pc:chgData name="Aurelien Domont" userId="6da7715ce44349b3" providerId="LiveId" clId="{41F0A500-E4ED-4805-8D84-F6050E0C1B79}" dt="2023-02-16T03:12:45.866" v="72" actId="47"/>
        <pc:sldMkLst>
          <pc:docMk/>
          <pc:sldMk cId="3318062978" sldId="2438"/>
        </pc:sldMkLst>
      </pc:sldChg>
      <pc:sldChg chg="del">
        <pc:chgData name="Aurelien Domont" userId="6da7715ce44349b3" providerId="LiveId" clId="{41F0A500-E4ED-4805-8D84-F6050E0C1B79}" dt="2023-02-16T03:12:45.866" v="72" actId="47"/>
        <pc:sldMkLst>
          <pc:docMk/>
          <pc:sldMk cId="141523137" sldId="2439"/>
        </pc:sldMkLst>
      </pc:sldChg>
      <pc:sldChg chg="del">
        <pc:chgData name="Aurelien Domont" userId="6da7715ce44349b3" providerId="LiveId" clId="{41F0A500-E4ED-4805-8D84-F6050E0C1B79}" dt="2023-02-16T03:12:45.866" v="72" actId="47"/>
        <pc:sldMkLst>
          <pc:docMk/>
          <pc:sldMk cId="2212935543" sldId="2440"/>
        </pc:sldMkLst>
      </pc:sldChg>
      <pc:sldChg chg="del">
        <pc:chgData name="Aurelien Domont" userId="6da7715ce44349b3" providerId="LiveId" clId="{41F0A500-E4ED-4805-8D84-F6050E0C1B79}" dt="2023-02-16T03:12:45.866" v="72" actId="47"/>
        <pc:sldMkLst>
          <pc:docMk/>
          <pc:sldMk cId="4182032264" sldId="2444"/>
        </pc:sldMkLst>
      </pc:sldChg>
      <pc:sldChg chg="del">
        <pc:chgData name="Aurelien Domont" userId="6da7715ce44349b3" providerId="LiveId" clId="{41F0A500-E4ED-4805-8D84-F6050E0C1B79}" dt="2023-02-16T03:12:45.866" v="72" actId="47"/>
        <pc:sldMkLst>
          <pc:docMk/>
          <pc:sldMk cId="4024712621" sldId="2445"/>
        </pc:sldMkLst>
      </pc:sldChg>
      <pc:sldChg chg="del">
        <pc:chgData name="Aurelien Domont" userId="6da7715ce44349b3" providerId="LiveId" clId="{41F0A500-E4ED-4805-8D84-F6050E0C1B79}" dt="2023-02-16T03:27:43.943" v="76" actId="47"/>
        <pc:sldMkLst>
          <pc:docMk/>
          <pc:sldMk cId="282134541" sldId="2475"/>
        </pc:sldMkLst>
      </pc:sldChg>
      <pc:sldChg chg="del">
        <pc:chgData name="Aurelien Domont" userId="6da7715ce44349b3" providerId="LiveId" clId="{41F0A500-E4ED-4805-8D84-F6050E0C1B79}" dt="2023-02-16T03:28:03" v="77" actId="47"/>
        <pc:sldMkLst>
          <pc:docMk/>
          <pc:sldMk cId="2851838303" sldId="2476"/>
        </pc:sldMkLst>
      </pc:sldChg>
      <pc:sldChg chg="del">
        <pc:chgData name="Aurelien Domont" userId="6da7715ce44349b3" providerId="LiveId" clId="{41F0A500-E4ED-4805-8D84-F6050E0C1B79}" dt="2023-02-16T03:29:30.883" v="79" actId="47"/>
        <pc:sldMkLst>
          <pc:docMk/>
          <pc:sldMk cId="266260425" sldId="2478"/>
        </pc:sldMkLst>
      </pc:sldChg>
      <pc:sldChg chg="add del">
        <pc:chgData name="Aurelien Domont" userId="6da7715ce44349b3" providerId="LiveId" clId="{41F0A500-E4ED-4805-8D84-F6050E0C1B79}" dt="2023-02-16T03:32:28.044" v="82" actId="47"/>
        <pc:sldMkLst>
          <pc:docMk/>
          <pc:sldMk cId="1756636418" sldId="2486"/>
        </pc:sldMkLst>
      </pc:sldChg>
      <pc:sldChg chg="del">
        <pc:chgData name="Aurelien Domont" userId="6da7715ce44349b3" providerId="LiveId" clId="{41F0A500-E4ED-4805-8D84-F6050E0C1B79}" dt="2023-02-16T03:12:45.866" v="72" actId="47"/>
        <pc:sldMkLst>
          <pc:docMk/>
          <pc:sldMk cId="1518822418" sldId="2528"/>
        </pc:sldMkLst>
      </pc:sldChg>
      <pc:sldChg chg="del">
        <pc:chgData name="Aurelien Domont" userId="6da7715ce44349b3" providerId="LiveId" clId="{41F0A500-E4ED-4805-8D84-F6050E0C1B79}" dt="2023-02-16T03:12:45.866" v="72" actId="47"/>
        <pc:sldMkLst>
          <pc:docMk/>
          <pc:sldMk cId="114241174" sldId="2532"/>
        </pc:sldMkLst>
      </pc:sldChg>
      <pc:sldChg chg="del">
        <pc:chgData name="Aurelien Domont" userId="6da7715ce44349b3" providerId="LiveId" clId="{41F0A500-E4ED-4805-8D84-F6050E0C1B79}" dt="2023-02-16T03:12:45.866" v="72" actId="47"/>
        <pc:sldMkLst>
          <pc:docMk/>
          <pc:sldMk cId="3710951792" sldId="2534"/>
        </pc:sldMkLst>
      </pc:sldChg>
      <pc:sldChg chg="del">
        <pc:chgData name="Aurelien Domont" userId="6da7715ce44349b3" providerId="LiveId" clId="{41F0A500-E4ED-4805-8D84-F6050E0C1B79}" dt="2023-02-16T03:28:03" v="77" actId="47"/>
        <pc:sldMkLst>
          <pc:docMk/>
          <pc:sldMk cId="1460840373" sldId="2543"/>
        </pc:sldMkLst>
      </pc:sldChg>
      <pc:sldChg chg="del">
        <pc:chgData name="Aurelien Domont" userId="6da7715ce44349b3" providerId="LiveId" clId="{41F0A500-E4ED-4805-8D84-F6050E0C1B79}" dt="2023-02-16T03:28:03" v="77" actId="47"/>
        <pc:sldMkLst>
          <pc:docMk/>
          <pc:sldMk cId="3234245594" sldId="2544"/>
        </pc:sldMkLst>
      </pc:sldChg>
      <pc:sldChg chg="del">
        <pc:chgData name="Aurelien Domont" userId="6da7715ce44349b3" providerId="LiveId" clId="{41F0A500-E4ED-4805-8D84-F6050E0C1B79}" dt="2023-02-16T03:28:03" v="77" actId="47"/>
        <pc:sldMkLst>
          <pc:docMk/>
          <pc:sldMk cId="1171926163" sldId="2548"/>
        </pc:sldMkLst>
      </pc:sldChg>
      <pc:sldChg chg="del">
        <pc:chgData name="Aurelien Domont" userId="6da7715ce44349b3" providerId="LiveId" clId="{41F0A500-E4ED-4805-8D84-F6050E0C1B79}" dt="2023-02-16T03:28:03" v="77" actId="47"/>
        <pc:sldMkLst>
          <pc:docMk/>
          <pc:sldMk cId="3319712758" sldId="2549"/>
        </pc:sldMkLst>
      </pc:sldChg>
      <pc:sldChg chg="del">
        <pc:chgData name="Aurelien Domont" userId="6da7715ce44349b3" providerId="LiveId" clId="{41F0A500-E4ED-4805-8D84-F6050E0C1B79}" dt="2023-02-16T03:28:03" v="77" actId="47"/>
        <pc:sldMkLst>
          <pc:docMk/>
          <pc:sldMk cId="2825689156" sldId="2551"/>
        </pc:sldMkLst>
      </pc:sldChg>
      <pc:sldChg chg="del">
        <pc:chgData name="Aurelien Domont" userId="6da7715ce44349b3" providerId="LiveId" clId="{41F0A500-E4ED-4805-8D84-F6050E0C1B79}" dt="2023-02-16T03:28:03" v="77" actId="47"/>
        <pc:sldMkLst>
          <pc:docMk/>
          <pc:sldMk cId="3015757233" sldId="2552"/>
        </pc:sldMkLst>
      </pc:sldChg>
      <pc:sldChg chg="del">
        <pc:chgData name="Aurelien Domont" userId="6da7715ce44349b3" providerId="LiveId" clId="{41F0A500-E4ED-4805-8D84-F6050E0C1B79}" dt="2023-02-16T03:28:03" v="77" actId="47"/>
        <pc:sldMkLst>
          <pc:docMk/>
          <pc:sldMk cId="2341912036" sldId="2553"/>
        </pc:sldMkLst>
      </pc:sldChg>
      <pc:sldChg chg="del">
        <pc:chgData name="Aurelien Domont" userId="6da7715ce44349b3" providerId="LiveId" clId="{41F0A500-E4ED-4805-8D84-F6050E0C1B79}" dt="2023-02-16T03:28:03" v="77" actId="47"/>
        <pc:sldMkLst>
          <pc:docMk/>
          <pc:sldMk cId="3285208466" sldId="2566"/>
        </pc:sldMkLst>
      </pc:sldChg>
      <pc:sldChg chg="del">
        <pc:chgData name="Aurelien Domont" userId="6da7715ce44349b3" providerId="LiveId" clId="{41F0A500-E4ED-4805-8D84-F6050E0C1B79}" dt="2023-02-16T03:28:03" v="77" actId="47"/>
        <pc:sldMkLst>
          <pc:docMk/>
          <pc:sldMk cId="168400318" sldId="2573"/>
        </pc:sldMkLst>
      </pc:sldChg>
      <pc:sldChg chg="del">
        <pc:chgData name="Aurelien Domont" userId="6da7715ce44349b3" providerId="LiveId" clId="{41F0A500-E4ED-4805-8D84-F6050E0C1B79}" dt="2023-02-16T03:28:03" v="77" actId="47"/>
        <pc:sldMkLst>
          <pc:docMk/>
          <pc:sldMk cId="3109918362" sldId="2574"/>
        </pc:sldMkLst>
      </pc:sldChg>
      <pc:sldChg chg="del">
        <pc:chgData name="Aurelien Domont" userId="6da7715ce44349b3" providerId="LiveId" clId="{41F0A500-E4ED-4805-8D84-F6050E0C1B79}" dt="2023-02-16T03:28:03" v="77" actId="47"/>
        <pc:sldMkLst>
          <pc:docMk/>
          <pc:sldMk cId="3499924189" sldId="2576"/>
        </pc:sldMkLst>
      </pc:sldChg>
      <pc:sldChg chg="del">
        <pc:chgData name="Aurelien Domont" userId="6da7715ce44349b3" providerId="LiveId" clId="{41F0A500-E4ED-4805-8D84-F6050E0C1B79}" dt="2023-02-16T03:28:03" v="77" actId="47"/>
        <pc:sldMkLst>
          <pc:docMk/>
          <pc:sldMk cId="3274052290" sldId="2577"/>
        </pc:sldMkLst>
      </pc:sldChg>
      <pc:sldChg chg="del">
        <pc:chgData name="Aurelien Domont" userId="6da7715ce44349b3" providerId="LiveId" clId="{41F0A500-E4ED-4805-8D84-F6050E0C1B79}" dt="2023-02-16T03:28:03" v="77" actId="47"/>
        <pc:sldMkLst>
          <pc:docMk/>
          <pc:sldMk cId="149126807" sldId="2579"/>
        </pc:sldMkLst>
      </pc:sldChg>
      <pc:sldChg chg="del">
        <pc:chgData name="Aurelien Domont" userId="6da7715ce44349b3" providerId="LiveId" clId="{41F0A500-E4ED-4805-8D84-F6050E0C1B79}" dt="2023-02-16T03:28:03" v="77" actId="47"/>
        <pc:sldMkLst>
          <pc:docMk/>
          <pc:sldMk cId="920435364" sldId="2580"/>
        </pc:sldMkLst>
      </pc:sldChg>
      <pc:sldChg chg="del">
        <pc:chgData name="Aurelien Domont" userId="6da7715ce44349b3" providerId="LiveId" clId="{41F0A500-E4ED-4805-8D84-F6050E0C1B79}" dt="2023-02-16T03:28:03" v="77" actId="47"/>
        <pc:sldMkLst>
          <pc:docMk/>
          <pc:sldMk cId="973395138" sldId="2582"/>
        </pc:sldMkLst>
      </pc:sldChg>
      <pc:sldChg chg="del">
        <pc:chgData name="Aurelien Domont" userId="6da7715ce44349b3" providerId="LiveId" clId="{41F0A500-E4ED-4805-8D84-F6050E0C1B79}" dt="2023-02-16T03:28:03" v="77" actId="47"/>
        <pc:sldMkLst>
          <pc:docMk/>
          <pc:sldMk cId="2152972054" sldId="2585"/>
        </pc:sldMkLst>
      </pc:sldChg>
      <pc:sldChg chg="del">
        <pc:chgData name="Aurelien Domont" userId="6da7715ce44349b3" providerId="LiveId" clId="{41F0A500-E4ED-4805-8D84-F6050E0C1B79}" dt="2023-02-16T03:28:03" v="77" actId="47"/>
        <pc:sldMkLst>
          <pc:docMk/>
          <pc:sldMk cId="2531193052" sldId="2586"/>
        </pc:sldMkLst>
      </pc:sldChg>
      <pc:sldChg chg="del">
        <pc:chgData name="Aurelien Domont" userId="6da7715ce44349b3" providerId="LiveId" clId="{41F0A500-E4ED-4805-8D84-F6050E0C1B79}" dt="2023-02-16T03:28:03" v="77" actId="47"/>
        <pc:sldMkLst>
          <pc:docMk/>
          <pc:sldMk cId="4048029769" sldId="2587"/>
        </pc:sldMkLst>
      </pc:sldChg>
      <pc:sldChg chg="del">
        <pc:chgData name="Aurelien Domont" userId="6da7715ce44349b3" providerId="LiveId" clId="{41F0A500-E4ED-4805-8D84-F6050E0C1B79}" dt="2023-02-16T03:28:03" v="77" actId="47"/>
        <pc:sldMkLst>
          <pc:docMk/>
          <pc:sldMk cId="3145140750" sldId="2588"/>
        </pc:sldMkLst>
      </pc:sldChg>
      <pc:sldChg chg="del">
        <pc:chgData name="Aurelien Domont" userId="6da7715ce44349b3" providerId="LiveId" clId="{41F0A500-E4ED-4805-8D84-F6050E0C1B79}" dt="2023-02-16T03:28:03" v="77" actId="47"/>
        <pc:sldMkLst>
          <pc:docMk/>
          <pc:sldMk cId="1870678215" sldId="2589"/>
        </pc:sldMkLst>
      </pc:sldChg>
      <pc:sldChg chg="del">
        <pc:chgData name="Aurelien Domont" userId="6da7715ce44349b3" providerId="LiveId" clId="{41F0A500-E4ED-4805-8D84-F6050E0C1B79}" dt="2023-02-16T03:28:03" v="77" actId="47"/>
        <pc:sldMkLst>
          <pc:docMk/>
          <pc:sldMk cId="3987364234" sldId="2590"/>
        </pc:sldMkLst>
      </pc:sldChg>
      <pc:sldChg chg="del">
        <pc:chgData name="Aurelien Domont" userId="6da7715ce44349b3" providerId="LiveId" clId="{41F0A500-E4ED-4805-8D84-F6050E0C1B79}" dt="2023-02-16T03:28:03" v="77" actId="47"/>
        <pc:sldMkLst>
          <pc:docMk/>
          <pc:sldMk cId="2387750748" sldId="2591"/>
        </pc:sldMkLst>
      </pc:sldChg>
      <pc:sldChg chg="del">
        <pc:chgData name="Aurelien Domont" userId="6da7715ce44349b3" providerId="LiveId" clId="{41F0A500-E4ED-4805-8D84-F6050E0C1B79}" dt="2023-02-16T03:33:21.421" v="83" actId="47"/>
        <pc:sldMkLst>
          <pc:docMk/>
          <pc:sldMk cId="1271381689" sldId="2593"/>
        </pc:sldMkLst>
      </pc:sldChg>
      <pc:sldChg chg="del">
        <pc:chgData name="Aurelien Domont" userId="6da7715ce44349b3" providerId="LiveId" clId="{41F0A500-E4ED-4805-8D84-F6050E0C1B79}" dt="2023-02-16T03:33:21.421" v="83" actId="47"/>
        <pc:sldMkLst>
          <pc:docMk/>
          <pc:sldMk cId="1134372063" sldId="2595"/>
        </pc:sldMkLst>
      </pc:sldChg>
      <pc:sldChg chg="del">
        <pc:chgData name="Aurelien Domont" userId="6da7715ce44349b3" providerId="LiveId" clId="{41F0A500-E4ED-4805-8D84-F6050E0C1B79}" dt="2023-02-16T03:33:21.421" v="83" actId="47"/>
        <pc:sldMkLst>
          <pc:docMk/>
          <pc:sldMk cId="271317158" sldId="2596"/>
        </pc:sldMkLst>
      </pc:sldChg>
      <pc:sldChg chg="del">
        <pc:chgData name="Aurelien Domont" userId="6da7715ce44349b3" providerId="LiveId" clId="{41F0A500-E4ED-4805-8D84-F6050E0C1B79}" dt="2023-02-16T03:29:10.201" v="78" actId="47"/>
        <pc:sldMkLst>
          <pc:docMk/>
          <pc:sldMk cId="3404802973" sldId="2598"/>
        </pc:sldMkLst>
      </pc:sldChg>
      <pc:sldChg chg="del">
        <pc:chgData name="Aurelien Domont" userId="6da7715ce44349b3" providerId="LiveId" clId="{41F0A500-E4ED-4805-8D84-F6050E0C1B79}" dt="2023-02-16T03:29:10.201" v="78" actId="47"/>
        <pc:sldMkLst>
          <pc:docMk/>
          <pc:sldMk cId="1351119352" sldId="2600"/>
        </pc:sldMkLst>
      </pc:sldChg>
      <pc:sldChg chg="del">
        <pc:chgData name="Aurelien Domont" userId="6da7715ce44349b3" providerId="LiveId" clId="{41F0A500-E4ED-4805-8D84-F6050E0C1B79}" dt="2023-02-16T03:29:30.883" v="79" actId="47"/>
        <pc:sldMkLst>
          <pc:docMk/>
          <pc:sldMk cId="4192037883" sldId="2602"/>
        </pc:sldMkLst>
      </pc:sldChg>
      <pc:sldChg chg="del">
        <pc:chgData name="Aurelien Domont" userId="6da7715ce44349b3" providerId="LiveId" clId="{41F0A500-E4ED-4805-8D84-F6050E0C1B79}" dt="2023-02-16T03:29:30.883" v="79" actId="47"/>
        <pc:sldMkLst>
          <pc:docMk/>
          <pc:sldMk cId="2966377203" sldId="2603"/>
        </pc:sldMkLst>
      </pc:sldChg>
      <pc:sldChg chg="del">
        <pc:chgData name="Aurelien Domont" userId="6da7715ce44349b3" providerId="LiveId" clId="{41F0A500-E4ED-4805-8D84-F6050E0C1B79}" dt="2023-02-16T03:29:10.201" v="78" actId="47"/>
        <pc:sldMkLst>
          <pc:docMk/>
          <pc:sldMk cId="246641167" sldId="2606"/>
        </pc:sldMkLst>
      </pc:sldChg>
      <pc:sldChg chg="del">
        <pc:chgData name="Aurelien Domont" userId="6da7715ce44349b3" providerId="LiveId" clId="{41F0A500-E4ED-4805-8D84-F6050E0C1B79}" dt="2023-02-16T03:29:10.201" v="78" actId="47"/>
        <pc:sldMkLst>
          <pc:docMk/>
          <pc:sldMk cId="4278786815" sldId="2607"/>
        </pc:sldMkLst>
      </pc:sldChg>
      <pc:sldChg chg="del">
        <pc:chgData name="Aurelien Domont" userId="6da7715ce44349b3" providerId="LiveId" clId="{41F0A500-E4ED-4805-8D84-F6050E0C1B79}" dt="2023-02-16T03:29:10.201" v="78" actId="47"/>
        <pc:sldMkLst>
          <pc:docMk/>
          <pc:sldMk cId="1336764095" sldId="2609"/>
        </pc:sldMkLst>
      </pc:sldChg>
      <pc:sldChg chg="del">
        <pc:chgData name="Aurelien Domont" userId="6da7715ce44349b3" providerId="LiveId" clId="{41F0A500-E4ED-4805-8D84-F6050E0C1B79}" dt="2023-02-16T03:29:10.201" v="78" actId="47"/>
        <pc:sldMkLst>
          <pc:docMk/>
          <pc:sldMk cId="277450242" sldId="2610"/>
        </pc:sldMkLst>
      </pc:sldChg>
      <pc:sldChg chg="del">
        <pc:chgData name="Aurelien Domont" userId="6da7715ce44349b3" providerId="LiveId" clId="{41F0A500-E4ED-4805-8D84-F6050E0C1B79}" dt="2023-02-16T03:29:10.201" v="78" actId="47"/>
        <pc:sldMkLst>
          <pc:docMk/>
          <pc:sldMk cId="883288700" sldId="2618"/>
        </pc:sldMkLst>
      </pc:sldChg>
      <pc:sldChg chg="del">
        <pc:chgData name="Aurelien Domont" userId="6da7715ce44349b3" providerId="LiveId" clId="{41F0A500-E4ED-4805-8D84-F6050E0C1B79}" dt="2023-02-16T03:29:10.201" v="78" actId="47"/>
        <pc:sldMkLst>
          <pc:docMk/>
          <pc:sldMk cId="1477443042" sldId="2619"/>
        </pc:sldMkLst>
      </pc:sldChg>
      <pc:sldChg chg="del">
        <pc:chgData name="Aurelien Domont" userId="6da7715ce44349b3" providerId="LiveId" clId="{41F0A500-E4ED-4805-8D84-F6050E0C1B79}" dt="2023-02-16T03:33:21.421" v="83" actId="47"/>
        <pc:sldMkLst>
          <pc:docMk/>
          <pc:sldMk cId="145987337" sldId="2621"/>
        </pc:sldMkLst>
      </pc:sldChg>
      <pc:sldChg chg="del">
        <pc:chgData name="Aurelien Domont" userId="6da7715ce44349b3" providerId="LiveId" clId="{41F0A500-E4ED-4805-8D84-F6050E0C1B79}" dt="2023-02-16T03:33:21.421" v="83" actId="47"/>
        <pc:sldMkLst>
          <pc:docMk/>
          <pc:sldMk cId="930751640" sldId="2622"/>
        </pc:sldMkLst>
      </pc:sldChg>
      <pc:sldChg chg="del">
        <pc:chgData name="Aurelien Domont" userId="6da7715ce44349b3" providerId="LiveId" clId="{41F0A500-E4ED-4805-8D84-F6050E0C1B79}" dt="2023-02-16T03:29:30.883" v="79" actId="47"/>
        <pc:sldMkLst>
          <pc:docMk/>
          <pc:sldMk cId="2288615205" sldId="2625"/>
        </pc:sldMkLst>
      </pc:sldChg>
      <pc:sldChg chg="del">
        <pc:chgData name="Aurelien Domont" userId="6da7715ce44349b3" providerId="LiveId" clId="{41F0A500-E4ED-4805-8D84-F6050E0C1B79}" dt="2023-02-16T03:29:30.883" v="79" actId="47"/>
        <pc:sldMkLst>
          <pc:docMk/>
          <pc:sldMk cId="3024276857" sldId="2627"/>
        </pc:sldMkLst>
      </pc:sldChg>
      <pc:sldChg chg="del">
        <pc:chgData name="Aurelien Domont" userId="6da7715ce44349b3" providerId="LiveId" clId="{41F0A500-E4ED-4805-8D84-F6050E0C1B79}" dt="2023-02-16T03:29:30.883" v="79" actId="47"/>
        <pc:sldMkLst>
          <pc:docMk/>
          <pc:sldMk cId="557752984" sldId="2629"/>
        </pc:sldMkLst>
      </pc:sldChg>
      <pc:sldChg chg="del">
        <pc:chgData name="Aurelien Domont" userId="6da7715ce44349b3" providerId="LiveId" clId="{41F0A500-E4ED-4805-8D84-F6050E0C1B79}" dt="2023-02-16T03:29:30.883" v="79" actId="47"/>
        <pc:sldMkLst>
          <pc:docMk/>
          <pc:sldMk cId="2556662504" sldId="2632"/>
        </pc:sldMkLst>
      </pc:sldChg>
      <pc:sldChg chg="del">
        <pc:chgData name="Aurelien Domont" userId="6da7715ce44349b3" providerId="LiveId" clId="{41F0A500-E4ED-4805-8D84-F6050E0C1B79}" dt="2023-02-16T03:12:45.866" v="72" actId="47"/>
        <pc:sldMkLst>
          <pc:docMk/>
          <pc:sldMk cId="1690563895" sldId="2633"/>
        </pc:sldMkLst>
      </pc:sldChg>
      <pc:sldChg chg="del">
        <pc:chgData name="Aurelien Domont" userId="6da7715ce44349b3" providerId="LiveId" clId="{41F0A500-E4ED-4805-8D84-F6050E0C1B79}" dt="2023-02-16T03:29:30.883" v="79" actId="47"/>
        <pc:sldMkLst>
          <pc:docMk/>
          <pc:sldMk cId="3605416799" sldId="2635"/>
        </pc:sldMkLst>
      </pc:sldChg>
      <pc:sldChg chg="del">
        <pc:chgData name="Aurelien Domont" userId="6da7715ce44349b3" providerId="LiveId" clId="{41F0A500-E4ED-4805-8D84-F6050E0C1B79}" dt="2023-02-16T03:33:57.092" v="84" actId="47"/>
        <pc:sldMkLst>
          <pc:docMk/>
          <pc:sldMk cId="161867065" sldId="2640"/>
        </pc:sldMkLst>
      </pc:sldChg>
      <pc:sldChg chg="del">
        <pc:chgData name="Aurelien Domont" userId="6da7715ce44349b3" providerId="LiveId" clId="{41F0A500-E4ED-4805-8D84-F6050E0C1B79}" dt="2023-02-16T03:33:57.092" v="84" actId="47"/>
        <pc:sldMkLst>
          <pc:docMk/>
          <pc:sldMk cId="1189212000" sldId="2643"/>
        </pc:sldMkLst>
      </pc:sldChg>
      <pc:sldChg chg="del">
        <pc:chgData name="Aurelien Domont" userId="6da7715ce44349b3" providerId="LiveId" clId="{41F0A500-E4ED-4805-8D84-F6050E0C1B79}" dt="2023-02-16T03:11:56.728" v="70" actId="47"/>
        <pc:sldMkLst>
          <pc:docMk/>
          <pc:sldMk cId="3674217527" sldId="2645"/>
        </pc:sldMkLst>
      </pc:sldChg>
      <pc:sldChg chg="del">
        <pc:chgData name="Aurelien Domont" userId="6da7715ce44349b3" providerId="LiveId" clId="{41F0A500-E4ED-4805-8D84-F6050E0C1B79}" dt="2023-02-16T03:12:45.866" v="72" actId="47"/>
        <pc:sldMkLst>
          <pc:docMk/>
          <pc:sldMk cId="2088006258" sldId="2646"/>
        </pc:sldMkLst>
      </pc:sldChg>
      <pc:sldChg chg="del">
        <pc:chgData name="Aurelien Domont" userId="6da7715ce44349b3" providerId="LiveId" clId="{41F0A500-E4ED-4805-8D84-F6050E0C1B79}" dt="2023-02-16T03:12:45.866" v="72" actId="47"/>
        <pc:sldMkLst>
          <pc:docMk/>
          <pc:sldMk cId="297724604" sldId="2647"/>
        </pc:sldMkLst>
      </pc:sldChg>
      <pc:sldChg chg="del">
        <pc:chgData name="Aurelien Domont" userId="6da7715ce44349b3" providerId="LiveId" clId="{41F0A500-E4ED-4805-8D84-F6050E0C1B79}" dt="2023-02-16T03:12:45.866" v="72" actId="47"/>
        <pc:sldMkLst>
          <pc:docMk/>
          <pc:sldMk cId="893063664" sldId="2648"/>
        </pc:sldMkLst>
      </pc:sldChg>
      <pc:sldChg chg="del">
        <pc:chgData name="Aurelien Domont" userId="6da7715ce44349b3" providerId="LiveId" clId="{41F0A500-E4ED-4805-8D84-F6050E0C1B79}" dt="2023-02-16T03:12:45.866" v="72" actId="47"/>
        <pc:sldMkLst>
          <pc:docMk/>
          <pc:sldMk cId="2119263387" sldId="2650"/>
        </pc:sldMkLst>
      </pc:sldChg>
      <pc:sldChg chg="del">
        <pc:chgData name="Aurelien Domont" userId="6da7715ce44349b3" providerId="LiveId" clId="{41F0A500-E4ED-4805-8D84-F6050E0C1B79}" dt="2023-02-16T03:12:45.866" v="72" actId="47"/>
        <pc:sldMkLst>
          <pc:docMk/>
          <pc:sldMk cId="1354082921" sldId="2651"/>
        </pc:sldMkLst>
      </pc:sldChg>
      <pc:sldChg chg="del">
        <pc:chgData name="Aurelien Domont" userId="6da7715ce44349b3" providerId="LiveId" clId="{41F0A500-E4ED-4805-8D84-F6050E0C1B79}" dt="2023-02-16T03:12:45.866" v="72" actId="47"/>
        <pc:sldMkLst>
          <pc:docMk/>
          <pc:sldMk cId="1304110916" sldId="2652"/>
        </pc:sldMkLst>
      </pc:sldChg>
      <pc:sldChg chg="del">
        <pc:chgData name="Aurelien Domont" userId="6da7715ce44349b3" providerId="LiveId" clId="{41F0A500-E4ED-4805-8D84-F6050E0C1B79}" dt="2023-02-16T03:12:45.866" v="72" actId="47"/>
        <pc:sldMkLst>
          <pc:docMk/>
          <pc:sldMk cId="2574950337" sldId="2653"/>
        </pc:sldMkLst>
      </pc:sldChg>
      <pc:sldChg chg="del">
        <pc:chgData name="Aurelien Domont" userId="6da7715ce44349b3" providerId="LiveId" clId="{41F0A500-E4ED-4805-8D84-F6050E0C1B79}" dt="2023-02-16T03:11:33.020" v="69" actId="47"/>
        <pc:sldMkLst>
          <pc:docMk/>
          <pc:sldMk cId="1153674" sldId="2656"/>
        </pc:sldMkLst>
      </pc:sldChg>
      <pc:sldChg chg="del">
        <pc:chgData name="Aurelien Domont" userId="6da7715ce44349b3" providerId="LiveId" clId="{41F0A500-E4ED-4805-8D84-F6050E0C1B79}" dt="2023-02-16T03:26:13.524" v="75" actId="47"/>
        <pc:sldMkLst>
          <pc:docMk/>
          <pc:sldMk cId="3174988895" sldId="2684"/>
        </pc:sldMkLst>
      </pc:sldChg>
      <pc:sldChg chg="del">
        <pc:chgData name="Aurelien Domont" userId="6da7715ce44349b3" providerId="LiveId" clId="{41F0A500-E4ED-4805-8D84-F6050E0C1B79}" dt="2023-02-16T03:26:13.524" v="75" actId="47"/>
        <pc:sldMkLst>
          <pc:docMk/>
          <pc:sldMk cId="1242881402" sldId="2685"/>
        </pc:sldMkLst>
      </pc:sldChg>
      <pc:sldChg chg="del">
        <pc:chgData name="Aurelien Domont" userId="6da7715ce44349b3" providerId="LiveId" clId="{41F0A500-E4ED-4805-8D84-F6050E0C1B79}" dt="2023-02-16T03:27:43.943" v="76" actId="47"/>
        <pc:sldMkLst>
          <pc:docMk/>
          <pc:sldMk cId="2608958839" sldId="2690"/>
        </pc:sldMkLst>
      </pc:sldChg>
      <pc:sldChg chg="del">
        <pc:chgData name="Aurelien Domont" userId="6da7715ce44349b3" providerId="LiveId" clId="{41F0A500-E4ED-4805-8D84-F6050E0C1B79}" dt="2023-02-16T03:27:43.943" v="76" actId="47"/>
        <pc:sldMkLst>
          <pc:docMk/>
          <pc:sldMk cId="2962222376" sldId="2691"/>
        </pc:sldMkLst>
      </pc:sldChg>
      <pc:sldChg chg="del">
        <pc:chgData name="Aurelien Domont" userId="6da7715ce44349b3" providerId="LiveId" clId="{41F0A500-E4ED-4805-8D84-F6050E0C1B79}" dt="2023-02-16T03:27:43.943" v="76" actId="47"/>
        <pc:sldMkLst>
          <pc:docMk/>
          <pc:sldMk cId="3274122682" sldId="2692"/>
        </pc:sldMkLst>
      </pc:sldChg>
      <pc:sldChg chg="del">
        <pc:chgData name="Aurelien Domont" userId="6da7715ce44349b3" providerId="LiveId" clId="{41F0A500-E4ED-4805-8D84-F6050E0C1B79}" dt="2023-02-16T03:27:43.943" v="76" actId="47"/>
        <pc:sldMkLst>
          <pc:docMk/>
          <pc:sldMk cId="3797008395" sldId="2693"/>
        </pc:sldMkLst>
      </pc:sldChg>
      <pc:sldChg chg="del">
        <pc:chgData name="Aurelien Domont" userId="6da7715ce44349b3" providerId="LiveId" clId="{41F0A500-E4ED-4805-8D84-F6050E0C1B79}" dt="2023-02-16T03:27:43.943" v="76" actId="47"/>
        <pc:sldMkLst>
          <pc:docMk/>
          <pc:sldMk cId="2598134555" sldId="2694"/>
        </pc:sldMkLst>
      </pc:sldChg>
      <pc:sldChg chg="del">
        <pc:chgData name="Aurelien Domont" userId="6da7715ce44349b3" providerId="LiveId" clId="{41F0A500-E4ED-4805-8D84-F6050E0C1B79}" dt="2023-02-16T03:27:43.943" v="76" actId="47"/>
        <pc:sldMkLst>
          <pc:docMk/>
          <pc:sldMk cId="610895617" sldId="2695"/>
        </pc:sldMkLst>
      </pc:sldChg>
      <pc:sldChg chg="del">
        <pc:chgData name="Aurelien Domont" userId="6da7715ce44349b3" providerId="LiveId" clId="{41F0A500-E4ED-4805-8D84-F6050E0C1B79}" dt="2023-02-16T03:12:45.866" v="72" actId="47"/>
        <pc:sldMkLst>
          <pc:docMk/>
          <pc:sldMk cId="4198519387" sldId="2697"/>
        </pc:sldMkLst>
      </pc:sldChg>
      <pc:sldChg chg="del">
        <pc:chgData name="Aurelien Domont" userId="6da7715ce44349b3" providerId="LiveId" clId="{41F0A500-E4ED-4805-8D84-F6050E0C1B79}" dt="2023-02-16T03:27:43.943" v="76" actId="47"/>
        <pc:sldMkLst>
          <pc:docMk/>
          <pc:sldMk cId="2834671872" sldId="2699"/>
        </pc:sldMkLst>
      </pc:sldChg>
      <pc:sldChg chg="del">
        <pc:chgData name="Aurelien Domont" userId="6da7715ce44349b3" providerId="LiveId" clId="{41F0A500-E4ED-4805-8D84-F6050E0C1B79}" dt="2023-02-16T03:28:03" v="77" actId="47"/>
        <pc:sldMkLst>
          <pc:docMk/>
          <pc:sldMk cId="3807224539" sldId="2702"/>
        </pc:sldMkLst>
      </pc:sldChg>
      <pc:sldChg chg="del">
        <pc:chgData name="Aurelien Domont" userId="6da7715ce44349b3" providerId="LiveId" clId="{41F0A500-E4ED-4805-8D84-F6050E0C1B79}" dt="2023-02-16T03:26:13.524" v="75" actId="47"/>
        <pc:sldMkLst>
          <pc:docMk/>
          <pc:sldMk cId="17386054" sldId="2704"/>
        </pc:sldMkLst>
      </pc:sldChg>
      <pc:sldChg chg="del">
        <pc:chgData name="Aurelien Domont" userId="6da7715ce44349b3" providerId="LiveId" clId="{41F0A500-E4ED-4805-8D84-F6050E0C1B79}" dt="2023-02-16T03:28:03" v="77" actId="47"/>
        <pc:sldMkLst>
          <pc:docMk/>
          <pc:sldMk cId="1171420821" sldId="2710"/>
        </pc:sldMkLst>
      </pc:sldChg>
      <pc:sldChg chg="del">
        <pc:chgData name="Aurelien Domont" userId="6da7715ce44349b3" providerId="LiveId" clId="{41F0A500-E4ED-4805-8D84-F6050E0C1B79}" dt="2023-02-16T03:28:03" v="77" actId="47"/>
        <pc:sldMkLst>
          <pc:docMk/>
          <pc:sldMk cId="2882379130" sldId="2711"/>
        </pc:sldMkLst>
      </pc:sldChg>
      <pc:sldChg chg="del">
        <pc:chgData name="Aurelien Domont" userId="6da7715ce44349b3" providerId="LiveId" clId="{41F0A500-E4ED-4805-8D84-F6050E0C1B79}" dt="2023-02-16T03:28:03" v="77" actId="47"/>
        <pc:sldMkLst>
          <pc:docMk/>
          <pc:sldMk cId="1689730927" sldId="2712"/>
        </pc:sldMkLst>
      </pc:sldChg>
      <pc:sldChg chg="del">
        <pc:chgData name="Aurelien Domont" userId="6da7715ce44349b3" providerId="LiveId" clId="{41F0A500-E4ED-4805-8D84-F6050E0C1B79}" dt="2023-02-16T03:28:03" v="77" actId="47"/>
        <pc:sldMkLst>
          <pc:docMk/>
          <pc:sldMk cId="2135764499" sldId="2713"/>
        </pc:sldMkLst>
      </pc:sldChg>
      <pc:sldChg chg="del">
        <pc:chgData name="Aurelien Domont" userId="6da7715ce44349b3" providerId="LiveId" clId="{41F0A500-E4ED-4805-8D84-F6050E0C1B79}" dt="2023-02-16T03:28:03" v="77" actId="47"/>
        <pc:sldMkLst>
          <pc:docMk/>
          <pc:sldMk cId="1573836939" sldId="2714"/>
        </pc:sldMkLst>
      </pc:sldChg>
      <pc:sldChg chg="del">
        <pc:chgData name="Aurelien Domont" userId="6da7715ce44349b3" providerId="LiveId" clId="{41F0A500-E4ED-4805-8D84-F6050E0C1B79}" dt="2023-02-16T03:28:03" v="77" actId="47"/>
        <pc:sldMkLst>
          <pc:docMk/>
          <pc:sldMk cId="3390275683" sldId="2715"/>
        </pc:sldMkLst>
      </pc:sldChg>
      <pc:sldChg chg="del">
        <pc:chgData name="Aurelien Domont" userId="6da7715ce44349b3" providerId="LiveId" clId="{41F0A500-E4ED-4805-8D84-F6050E0C1B79}" dt="2023-02-16T03:28:03" v="77" actId="47"/>
        <pc:sldMkLst>
          <pc:docMk/>
          <pc:sldMk cId="525029393" sldId="2716"/>
        </pc:sldMkLst>
      </pc:sldChg>
      <pc:sldChg chg="del">
        <pc:chgData name="Aurelien Domont" userId="6da7715ce44349b3" providerId="LiveId" clId="{41F0A500-E4ED-4805-8D84-F6050E0C1B79}" dt="2023-02-16T03:28:03" v="77" actId="47"/>
        <pc:sldMkLst>
          <pc:docMk/>
          <pc:sldMk cId="717409554" sldId="2719"/>
        </pc:sldMkLst>
      </pc:sldChg>
      <pc:sldChg chg="del">
        <pc:chgData name="Aurelien Domont" userId="6da7715ce44349b3" providerId="LiveId" clId="{41F0A500-E4ED-4805-8D84-F6050E0C1B79}" dt="2023-02-16T03:28:03" v="77" actId="47"/>
        <pc:sldMkLst>
          <pc:docMk/>
          <pc:sldMk cId="2252086513" sldId="2720"/>
        </pc:sldMkLst>
      </pc:sldChg>
      <pc:sldChg chg="del">
        <pc:chgData name="Aurelien Domont" userId="6da7715ce44349b3" providerId="LiveId" clId="{41F0A500-E4ED-4805-8D84-F6050E0C1B79}" dt="2023-02-16T03:28:03" v="77" actId="47"/>
        <pc:sldMkLst>
          <pc:docMk/>
          <pc:sldMk cId="2453546627" sldId="2721"/>
        </pc:sldMkLst>
      </pc:sldChg>
      <pc:sldChg chg="del">
        <pc:chgData name="Aurelien Domont" userId="6da7715ce44349b3" providerId="LiveId" clId="{41F0A500-E4ED-4805-8D84-F6050E0C1B79}" dt="2023-02-16T03:28:03" v="77" actId="47"/>
        <pc:sldMkLst>
          <pc:docMk/>
          <pc:sldMk cId="2970166138" sldId="2722"/>
        </pc:sldMkLst>
      </pc:sldChg>
      <pc:sldChg chg="del">
        <pc:chgData name="Aurelien Domont" userId="6da7715ce44349b3" providerId="LiveId" clId="{41F0A500-E4ED-4805-8D84-F6050E0C1B79}" dt="2023-02-16T03:28:03" v="77" actId="47"/>
        <pc:sldMkLst>
          <pc:docMk/>
          <pc:sldMk cId="1437605306" sldId="2734"/>
        </pc:sldMkLst>
      </pc:sldChg>
      <pc:sldChg chg="del">
        <pc:chgData name="Aurelien Domont" userId="6da7715ce44349b3" providerId="LiveId" clId="{41F0A500-E4ED-4805-8D84-F6050E0C1B79}" dt="2023-02-16T03:28:03" v="77" actId="47"/>
        <pc:sldMkLst>
          <pc:docMk/>
          <pc:sldMk cId="3405486540" sldId="2735"/>
        </pc:sldMkLst>
      </pc:sldChg>
      <pc:sldChg chg="del">
        <pc:chgData name="Aurelien Domont" userId="6da7715ce44349b3" providerId="LiveId" clId="{41F0A500-E4ED-4805-8D84-F6050E0C1B79}" dt="2023-02-16T03:28:03" v="77" actId="47"/>
        <pc:sldMkLst>
          <pc:docMk/>
          <pc:sldMk cId="2628821654" sldId="2736"/>
        </pc:sldMkLst>
      </pc:sldChg>
      <pc:sldChg chg="del">
        <pc:chgData name="Aurelien Domont" userId="6da7715ce44349b3" providerId="LiveId" clId="{41F0A500-E4ED-4805-8D84-F6050E0C1B79}" dt="2023-02-16T03:29:10.201" v="78" actId="47"/>
        <pc:sldMkLst>
          <pc:docMk/>
          <pc:sldMk cId="1429555406" sldId="2738"/>
        </pc:sldMkLst>
      </pc:sldChg>
      <pc:sldChg chg="del">
        <pc:chgData name="Aurelien Domont" userId="6da7715ce44349b3" providerId="LiveId" clId="{41F0A500-E4ED-4805-8D84-F6050E0C1B79}" dt="2023-02-16T03:29:10.201" v="78" actId="47"/>
        <pc:sldMkLst>
          <pc:docMk/>
          <pc:sldMk cId="1759464966" sldId="2739"/>
        </pc:sldMkLst>
      </pc:sldChg>
      <pc:sldChg chg="del">
        <pc:chgData name="Aurelien Domont" userId="6da7715ce44349b3" providerId="LiveId" clId="{41F0A500-E4ED-4805-8D84-F6050E0C1B79}" dt="2023-02-16T03:29:10.201" v="78" actId="47"/>
        <pc:sldMkLst>
          <pc:docMk/>
          <pc:sldMk cId="3901388038" sldId="2742"/>
        </pc:sldMkLst>
      </pc:sldChg>
      <pc:sldChg chg="del">
        <pc:chgData name="Aurelien Domont" userId="6da7715ce44349b3" providerId="LiveId" clId="{41F0A500-E4ED-4805-8D84-F6050E0C1B79}" dt="2023-02-16T03:29:10.201" v="78" actId="47"/>
        <pc:sldMkLst>
          <pc:docMk/>
          <pc:sldMk cId="544850422" sldId="2743"/>
        </pc:sldMkLst>
      </pc:sldChg>
      <pc:sldChg chg="del">
        <pc:chgData name="Aurelien Domont" userId="6da7715ce44349b3" providerId="LiveId" clId="{41F0A500-E4ED-4805-8D84-F6050E0C1B79}" dt="2023-02-16T03:29:10.201" v="78" actId="47"/>
        <pc:sldMkLst>
          <pc:docMk/>
          <pc:sldMk cId="351876817" sldId="2744"/>
        </pc:sldMkLst>
      </pc:sldChg>
      <pc:sldChg chg="del">
        <pc:chgData name="Aurelien Domont" userId="6da7715ce44349b3" providerId="LiveId" clId="{41F0A500-E4ED-4805-8D84-F6050E0C1B79}" dt="2023-02-16T03:29:10.201" v="78" actId="47"/>
        <pc:sldMkLst>
          <pc:docMk/>
          <pc:sldMk cId="1201643738" sldId="2745"/>
        </pc:sldMkLst>
      </pc:sldChg>
      <pc:sldChg chg="del">
        <pc:chgData name="Aurelien Domont" userId="6da7715ce44349b3" providerId="LiveId" clId="{41F0A500-E4ED-4805-8D84-F6050E0C1B79}" dt="2023-02-16T03:29:10.201" v="78" actId="47"/>
        <pc:sldMkLst>
          <pc:docMk/>
          <pc:sldMk cId="1553889362" sldId="2746"/>
        </pc:sldMkLst>
      </pc:sldChg>
      <pc:sldChg chg="del">
        <pc:chgData name="Aurelien Domont" userId="6da7715ce44349b3" providerId="LiveId" clId="{41F0A500-E4ED-4805-8D84-F6050E0C1B79}" dt="2023-02-16T03:29:10.201" v="78" actId="47"/>
        <pc:sldMkLst>
          <pc:docMk/>
          <pc:sldMk cId="1550458345" sldId="2760"/>
        </pc:sldMkLst>
      </pc:sldChg>
      <pc:sldChg chg="del">
        <pc:chgData name="Aurelien Domont" userId="6da7715ce44349b3" providerId="LiveId" clId="{41F0A500-E4ED-4805-8D84-F6050E0C1B79}" dt="2023-02-16T03:29:10.201" v="78" actId="47"/>
        <pc:sldMkLst>
          <pc:docMk/>
          <pc:sldMk cId="3324380418" sldId="2761"/>
        </pc:sldMkLst>
      </pc:sldChg>
      <pc:sldChg chg="del">
        <pc:chgData name="Aurelien Domont" userId="6da7715ce44349b3" providerId="LiveId" clId="{41F0A500-E4ED-4805-8D84-F6050E0C1B79}" dt="2023-02-16T03:29:10.201" v="78" actId="47"/>
        <pc:sldMkLst>
          <pc:docMk/>
          <pc:sldMk cId="2379980393" sldId="2763"/>
        </pc:sldMkLst>
      </pc:sldChg>
      <pc:sldChg chg="del">
        <pc:chgData name="Aurelien Domont" userId="6da7715ce44349b3" providerId="LiveId" clId="{41F0A500-E4ED-4805-8D84-F6050E0C1B79}" dt="2023-02-16T03:29:10.201" v="78" actId="47"/>
        <pc:sldMkLst>
          <pc:docMk/>
          <pc:sldMk cId="1086098030" sldId="2765"/>
        </pc:sldMkLst>
      </pc:sldChg>
      <pc:sldChg chg="del">
        <pc:chgData name="Aurelien Domont" userId="6da7715ce44349b3" providerId="LiveId" clId="{41F0A500-E4ED-4805-8D84-F6050E0C1B79}" dt="2023-02-16T03:29:10.201" v="78" actId="47"/>
        <pc:sldMkLst>
          <pc:docMk/>
          <pc:sldMk cId="1468999048" sldId="2766"/>
        </pc:sldMkLst>
      </pc:sldChg>
      <pc:sldChg chg="del">
        <pc:chgData name="Aurelien Domont" userId="6da7715ce44349b3" providerId="LiveId" clId="{41F0A500-E4ED-4805-8D84-F6050E0C1B79}" dt="2023-02-16T03:29:10.201" v="78" actId="47"/>
        <pc:sldMkLst>
          <pc:docMk/>
          <pc:sldMk cId="1014992937" sldId="2767"/>
        </pc:sldMkLst>
      </pc:sldChg>
      <pc:sldChg chg="del">
        <pc:chgData name="Aurelien Domont" userId="6da7715ce44349b3" providerId="LiveId" clId="{41F0A500-E4ED-4805-8D84-F6050E0C1B79}" dt="2023-02-16T03:29:30.883" v="79" actId="47"/>
        <pc:sldMkLst>
          <pc:docMk/>
          <pc:sldMk cId="4147586859" sldId="2768"/>
        </pc:sldMkLst>
      </pc:sldChg>
      <pc:sldChg chg="del">
        <pc:chgData name="Aurelien Domont" userId="6da7715ce44349b3" providerId="LiveId" clId="{41F0A500-E4ED-4805-8D84-F6050E0C1B79}" dt="2023-02-16T03:29:30.883" v="79" actId="47"/>
        <pc:sldMkLst>
          <pc:docMk/>
          <pc:sldMk cId="1179540510" sldId="2769"/>
        </pc:sldMkLst>
      </pc:sldChg>
      <pc:sldChg chg="del">
        <pc:chgData name="Aurelien Domont" userId="6da7715ce44349b3" providerId="LiveId" clId="{41F0A500-E4ED-4805-8D84-F6050E0C1B79}" dt="2023-02-16T03:29:30.883" v="79" actId="47"/>
        <pc:sldMkLst>
          <pc:docMk/>
          <pc:sldMk cId="392253706" sldId="2771"/>
        </pc:sldMkLst>
      </pc:sldChg>
      <pc:sldChg chg="del">
        <pc:chgData name="Aurelien Domont" userId="6da7715ce44349b3" providerId="LiveId" clId="{41F0A500-E4ED-4805-8D84-F6050E0C1B79}" dt="2023-02-16T03:29:30.883" v="79" actId="47"/>
        <pc:sldMkLst>
          <pc:docMk/>
          <pc:sldMk cId="3170385694" sldId="2782"/>
        </pc:sldMkLst>
      </pc:sldChg>
      <pc:sldChg chg="del">
        <pc:chgData name="Aurelien Domont" userId="6da7715ce44349b3" providerId="LiveId" clId="{41F0A500-E4ED-4805-8D84-F6050E0C1B79}" dt="2023-02-16T03:29:30.883" v="79" actId="47"/>
        <pc:sldMkLst>
          <pc:docMk/>
          <pc:sldMk cId="770898493" sldId="2783"/>
        </pc:sldMkLst>
      </pc:sldChg>
      <pc:sldChg chg="del">
        <pc:chgData name="Aurelien Domont" userId="6da7715ce44349b3" providerId="LiveId" clId="{41F0A500-E4ED-4805-8D84-F6050E0C1B79}" dt="2023-02-16T03:29:30.883" v="79" actId="47"/>
        <pc:sldMkLst>
          <pc:docMk/>
          <pc:sldMk cId="4243610664" sldId="2784"/>
        </pc:sldMkLst>
      </pc:sldChg>
      <pc:sldChg chg="del">
        <pc:chgData name="Aurelien Domont" userId="6da7715ce44349b3" providerId="LiveId" clId="{41F0A500-E4ED-4805-8D84-F6050E0C1B79}" dt="2023-02-16T03:29:30.883" v="79" actId="47"/>
        <pc:sldMkLst>
          <pc:docMk/>
          <pc:sldMk cId="2106791307" sldId="2785"/>
        </pc:sldMkLst>
      </pc:sldChg>
      <pc:sldChg chg="del">
        <pc:chgData name="Aurelien Domont" userId="6da7715ce44349b3" providerId="LiveId" clId="{41F0A500-E4ED-4805-8D84-F6050E0C1B79}" dt="2023-02-16T03:29:30.883" v="79" actId="47"/>
        <pc:sldMkLst>
          <pc:docMk/>
          <pc:sldMk cId="976486270" sldId="2786"/>
        </pc:sldMkLst>
      </pc:sldChg>
      <pc:sldChg chg="del">
        <pc:chgData name="Aurelien Domont" userId="6da7715ce44349b3" providerId="LiveId" clId="{41F0A500-E4ED-4805-8D84-F6050E0C1B79}" dt="2023-02-16T03:29:30.883" v="79" actId="47"/>
        <pc:sldMkLst>
          <pc:docMk/>
          <pc:sldMk cId="444405697" sldId="2789"/>
        </pc:sldMkLst>
      </pc:sldChg>
      <pc:sldChg chg="del">
        <pc:chgData name="Aurelien Domont" userId="6da7715ce44349b3" providerId="LiveId" clId="{41F0A500-E4ED-4805-8D84-F6050E0C1B79}" dt="2023-02-16T03:29:30.883" v="79" actId="47"/>
        <pc:sldMkLst>
          <pc:docMk/>
          <pc:sldMk cId="1013501639" sldId="2790"/>
        </pc:sldMkLst>
      </pc:sldChg>
      <pc:sldChg chg="del">
        <pc:chgData name="Aurelien Domont" userId="6da7715ce44349b3" providerId="LiveId" clId="{41F0A500-E4ED-4805-8D84-F6050E0C1B79}" dt="2023-02-16T03:29:30.883" v="79" actId="47"/>
        <pc:sldMkLst>
          <pc:docMk/>
          <pc:sldMk cId="1137737596" sldId="2793"/>
        </pc:sldMkLst>
      </pc:sldChg>
      <pc:sldChg chg="del">
        <pc:chgData name="Aurelien Domont" userId="6da7715ce44349b3" providerId="LiveId" clId="{41F0A500-E4ED-4805-8D84-F6050E0C1B79}" dt="2023-02-16T03:29:30.883" v="79" actId="47"/>
        <pc:sldMkLst>
          <pc:docMk/>
          <pc:sldMk cId="719582974" sldId="2794"/>
        </pc:sldMkLst>
      </pc:sldChg>
      <pc:sldChg chg="del">
        <pc:chgData name="Aurelien Domont" userId="6da7715ce44349b3" providerId="LiveId" clId="{41F0A500-E4ED-4805-8D84-F6050E0C1B79}" dt="2023-02-16T03:29:30.883" v="79" actId="47"/>
        <pc:sldMkLst>
          <pc:docMk/>
          <pc:sldMk cId="3440327233" sldId="2795"/>
        </pc:sldMkLst>
      </pc:sldChg>
      <pc:sldChg chg="del">
        <pc:chgData name="Aurelien Domont" userId="6da7715ce44349b3" providerId="LiveId" clId="{41F0A500-E4ED-4805-8D84-F6050E0C1B79}" dt="2023-02-16T03:29:30.883" v="79" actId="47"/>
        <pc:sldMkLst>
          <pc:docMk/>
          <pc:sldMk cId="3486752604" sldId="2796"/>
        </pc:sldMkLst>
      </pc:sldChg>
      <pc:sldChg chg="del">
        <pc:chgData name="Aurelien Domont" userId="6da7715ce44349b3" providerId="LiveId" clId="{41F0A500-E4ED-4805-8D84-F6050E0C1B79}" dt="2023-02-16T03:28:03" v="77" actId="47"/>
        <pc:sldMkLst>
          <pc:docMk/>
          <pc:sldMk cId="2256428116" sldId="2798"/>
        </pc:sldMkLst>
      </pc:sldChg>
      <pc:sldChg chg="del">
        <pc:chgData name="Aurelien Domont" userId="6da7715ce44349b3" providerId="LiveId" clId="{41F0A500-E4ED-4805-8D84-F6050E0C1B79}" dt="2023-02-16T03:28:03" v="77" actId="47"/>
        <pc:sldMkLst>
          <pc:docMk/>
          <pc:sldMk cId="1317706576" sldId="2799"/>
        </pc:sldMkLst>
      </pc:sldChg>
      <pc:sldChg chg="del">
        <pc:chgData name="Aurelien Domont" userId="6da7715ce44349b3" providerId="LiveId" clId="{41F0A500-E4ED-4805-8D84-F6050E0C1B79}" dt="2023-02-16T03:29:10.201" v="78" actId="47"/>
        <pc:sldMkLst>
          <pc:docMk/>
          <pc:sldMk cId="3961326851" sldId="2800"/>
        </pc:sldMkLst>
      </pc:sldChg>
      <pc:sldChg chg="del">
        <pc:chgData name="Aurelien Domont" userId="6da7715ce44349b3" providerId="LiveId" clId="{41F0A500-E4ED-4805-8D84-F6050E0C1B79}" dt="2023-02-16T03:29:10.201" v="78" actId="47"/>
        <pc:sldMkLst>
          <pc:docMk/>
          <pc:sldMk cId="2227034554" sldId="2801"/>
        </pc:sldMkLst>
      </pc:sldChg>
      <pc:sldChg chg="del">
        <pc:chgData name="Aurelien Domont" userId="6da7715ce44349b3" providerId="LiveId" clId="{41F0A500-E4ED-4805-8D84-F6050E0C1B79}" dt="2023-02-16T03:29:10.201" v="78" actId="47"/>
        <pc:sldMkLst>
          <pc:docMk/>
          <pc:sldMk cId="1555481823" sldId="2802"/>
        </pc:sldMkLst>
      </pc:sldChg>
      <pc:sldChg chg="del">
        <pc:chgData name="Aurelien Domont" userId="6da7715ce44349b3" providerId="LiveId" clId="{41F0A500-E4ED-4805-8D84-F6050E0C1B79}" dt="2023-02-16T03:29:10.201" v="78" actId="47"/>
        <pc:sldMkLst>
          <pc:docMk/>
          <pc:sldMk cId="1956543247" sldId="2803"/>
        </pc:sldMkLst>
      </pc:sldChg>
      <pc:sldChg chg="del">
        <pc:chgData name="Aurelien Domont" userId="6da7715ce44349b3" providerId="LiveId" clId="{41F0A500-E4ED-4805-8D84-F6050E0C1B79}" dt="2023-02-16T03:29:10.201" v="78" actId="47"/>
        <pc:sldMkLst>
          <pc:docMk/>
          <pc:sldMk cId="2164046238" sldId="2804"/>
        </pc:sldMkLst>
      </pc:sldChg>
      <pc:sldChg chg="del">
        <pc:chgData name="Aurelien Domont" userId="6da7715ce44349b3" providerId="LiveId" clId="{41F0A500-E4ED-4805-8D84-F6050E0C1B79}" dt="2023-02-16T03:29:30.883" v="79" actId="47"/>
        <pc:sldMkLst>
          <pc:docMk/>
          <pc:sldMk cId="1173003416" sldId="2805"/>
        </pc:sldMkLst>
      </pc:sldChg>
      <pc:sldChg chg="del">
        <pc:chgData name="Aurelien Domont" userId="6da7715ce44349b3" providerId="LiveId" clId="{41F0A500-E4ED-4805-8D84-F6050E0C1B79}" dt="2023-02-16T03:29:30.883" v="79" actId="47"/>
        <pc:sldMkLst>
          <pc:docMk/>
          <pc:sldMk cId="1238934559" sldId="2806"/>
        </pc:sldMkLst>
      </pc:sldChg>
      <pc:sldChg chg="del">
        <pc:chgData name="Aurelien Domont" userId="6da7715ce44349b3" providerId="LiveId" clId="{41F0A500-E4ED-4805-8D84-F6050E0C1B79}" dt="2023-02-16T03:29:30.883" v="79" actId="47"/>
        <pc:sldMkLst>
          <pc:docMk/>
          <pc:sldMk cId="1453306358" sldId="2807"/>
        </pc:sldMkLst>
      </pc:sldChg>
      <pc:sldChg chg="del">
        <pc:chgData name="Aurelien Domont" userId="6da7715ce44349b3" providerId="LiveId" clId="{41F0A500-E4ED-4805-8D84-F6050E0C1B79}" dt="2023-02-16T03:01:33.660" v="16" actId="47"/>
        <pc:sldMkLst>
          <pc:docMk/>
          <pc:sldMk cId="1501941711" sldId="2809"/>
        </pc:sldMkLst>
      </pc:sldChg>
      <pc:sldChg chg="del">
        <pc:chgData name="Aurelien Domont" userId="6da7715ce44349b3" providerId="LiveId" clId="{41F0A500-E4ED-4805-8D84-F6050E0C1B79}" dt="2023-02-16T03:28:03" v="77" actId="47"/>
        <pc:sldMkLst>
          <pc:docMk/>
          <pc:sldMk cId="4037376043" sldId="2810"/>
        </pc:sldMkLst>
      </pc:sldChg>
      <pc:sldChg chg="modSp mod">
        <pc:chgData name="Aurelien Domont" userId="6da7715ce44349b3" providerId="LiveId" clId="{41F0A500-E4ED-4805-8D84-F6050E0C1B79}" dt="2023-02-16T03:11:16.712" v="68" actId="207"/>
        <pc:sldMkLst>
          <pc:docMk/>
          <pc:sldMk cId="880102048" sldId="2811"/>
        </pc:sldMkLst>
        <pc:spChg chg="mod">
          <ac:chgData name="Aurelien Domont" userId="6da7715ce44349b3" providerId="LiveId" clId="{41F0A500-E4ED-4805-8D84-F6050E0C1B79}" dt="2023-02-16T03:11:16.712" v="68" actId="207"/>
          <ac:spMkLst>
            <pc:docMk/>
            <pc:sldMk cId="880102048" sldId="2811"/>
            <ac:spMk id="9" creationId="{0F4B39A0-2803-47D9-93AE-F99798C91F06}"/>
          </ac:spMkLst>
        </pc:spChg>
        <pc:spChg chg="mod">
          <ac:chgData name="Aurelien Domont" userId="6da7715ce44349b3" providerId="LiveId" clId="{41F0A500-E4ED-4805-8D84-F6050E0C1B79}" dt="2023-02-16T03:10:47.109" v="65" actId="20577"/>
          <ac:spMkLst>
            <pc:docMk/>
            <pc:sldMk cId="880102048" sldId="2811"/>
            <ac:spMk id="16" creationId="{6C2BB713-9637-4B9B-938F-E9768876782A}"/>
          </ac:spMkLst>
        </pc:spChg>
        <pc:spChg chg="mod">
          <ac:chgData name="Aurelien Domont" userId="6da7715ce44349b3" providerId="LiveId" clId="{41F0A500-E4ED-4805-8D84-F6050E0C1B79}" dt="2023-02-16T03:11:11.343" v="66" actId="207"/>
          <ac:spMkLst>
            <pc:docMk/>
            <pc:sldMk cId="880102048" sldId="2811"/>
            <ac:spMk id="31" creationId="{1C1B78F5-CE09-4A06-8F1D-30227B5D6E15}"/>
          </ac:spMkLst>
        </pc:spChg>
      </pc:sldChg>
      <pc:sldChg chg="del">
        <pc:chgData name="Aurelien Domont" userId="6da7715ce44349b3" providerId="LiveId" clId="{41F0A500-E4ED-4805-8D84-F6050E0C1B79}" dt="2023-02-16T03:30:01.813" v="80" actId="47"/>
        <pc:sldMkLst>
          <pc:docMk/>
          <pc:sldMk cId="11208037" sldId="2813"/>
        </pc:sldMkLst>
      </pc:sldChg>
      <pc:sldChg chg="del">
        <pc:chgData name="Aurelien Domont" userId="6da7715ce44349b3" providerId="LiveId" clId="{41F0A500-E4ED-4805-8D84-F6050E0C1B79}" dt="2023-02-16T03:12:45.866" v="72" actId="47"/>
        <pc:sldMkLst>
          <pc:docMk/>
          <pc:sldMk cId="2585945969" sldId="2814"/>
        </pc:sldMkLst>
      </pc:sldChg>
      <pc:sldChg chg="del">
        <pc:chgData name="Aurelien Domont" userId="6da7715ce44349b3" providerId="LiveId" clId="{41F0A500-E4ED-4805-8D84-F6050E0C1B79}" dt="2023-02-16T03:12:45.866" v="72" actId="47"/>
        <pc:sldMkLst>
          <pc:docMk/>
          <pc:sldMk cId="1295088674" sldId="2815"/>
        </pc:sldMkLst>
      </pc:sldChg>
      <pc:sldChg chg="del">
        <pc:chgData name="Aurelien Domont" userId="6da7715ce44349b3" providerId="LiveId" clId="{41F0A500-E4ED-4805-8D84-F6050E0C1B79}" dt="2023-02-16T03:12:45.866" v="72" actId="47"/>
        <pc:sldMkLst>
          <pc:docMk/>
          <pc:sldMk cId="910304191" sldId="2816"/>
        </pc:sldMkLst>
      </pc:sldChg>
      <pc:sldChg chg="del">
        <pc:chgData name="Aurelien Domont" userId="6da7715ce44349b3" providerId="LiveId" clId="{41F0A500-E4ED-4805-8D84-F6050E0C1B79}" dt="2023-02-16T03:12:45.866" v="72" actId="47"/>
        <pc:sldMkLst>
          <pc:docMk/>
          <pc:sldMk cId="2470133787" sldId="2817"/>
        </pc:sldMkLst>
      </pc:sldChg>
      <pc:sldChg chg="del">
        <pc:chgData name="Aurelien Domont" userId="6da7715ce44349b3" providerId="LiveId" clId="{41F0A500-E4ED-4805-8D84-F6050E0C1B79}" dt="2023-02-16T03:12:45.866" v="72" actId="47"/>
        <pc:sldMkLst>
          <pc:docMk/>
          <pc:sldMk cId="1781728587" sldId="2818"/>
        </pc:sldMkLst>
      </pc:sldChg>
      <pc:sldChg chg="del">
        <pc:chgData name="Aurelien Domont" userId="6da7715ce44349b3" providerId="LiveId" clId="{41F0A500-E4ED-4805-8D84-F6050E0C1B79}" dt="2023-02-16T03:12:45.866" v="72" actId="47"/>
        <pc:sldMkLst>
          <pc:docMk/>
          <pc:sldMk cId="754206789" sldId="2819"/>
        </pc:sldMkLst>
      </pc:sldChg>
      <pc:sldChg chg="del">
        <pc:chgData name="Aurelien Domont" userId="6da7715ce44349b3" providerId="LiveId" clId="{41F0A500-E4ED-4805-8D84-F6050E0C1B79}" dt="2023-02-16T03:12:45.866" v="72" actId="47"/>
        <pc:sldMkLst>
          <pc:docMk/>
          <pc:sldMk cId="1726433618" sldId="2820"/>
        </pc:sldMkLst>
      </pc:sldChg>
      <pc:sldChg chg="del">
        <pc:chgData name="Aurelien Domont" userId="6da7715ce44349b3" providerId="LiveId" clId="{41F0A500-E4ED-4805-8D84-F6050E0C1B79}" dt="2023-02-16T03:27:43.943" v="76" actId="47"/>
        <pc:sldMkLst>
          <pc:docMk/>
          <pc:sldMk cId="204392000" sldId="2823"/>
        </pc:sldMkLst>
      </pc:sldChg>
      <pc:sldChg chg="del">
        <pc:chgData name="Aurelien Domont" userId="6da7715ce44349b3" providerId="LiveId" clId="{41F0A500-E4ED-4805-8D84-F6050E0C1B79}" dt="2023-02-16T03:27:43.943" v="76" actId="47"/>
        <pc:sldMkLst>
          <pc:docMk/>
          <pc:sldMk cId="1991075035" sldId="2824"/>
        </pc:sldMkLst>
      </pc:sldChg>
      <pc:sldChg chg="del">
        <pc:chgData name="Aurelien Domont" userId="6da7715ce44349b3" providerId="LiveId" clId="{41F0A500-E4ED-4805-8D84-F6050E0C1B79}" dt="2023-02-16T03:27:43.943" v="76" actId="47"/>
        <pc:sldMkLst>
          <pc:docMk/>
          <pc:sldMk cId="3300084978" sldId="2825"/>
        </pc:sldMkLst>
      </pc:sldChg>
      <pc:sldChg chg="del">
        <pc:chgData name="Aurelien Domont" userId="6da7715ce44349b3" providerId="LiveId" clId="{41F0A500-E4ED-4805-8D84-F6050E0C1B79}" dt="2023-02-16T03:28:03" v="77" actId="47"/>
        <pc:sldMkLst>
          <pc:docMk/>
          <pc:sldMk cId="2219096630" sldId="2828"/>
        </pc:sldMkLst>
      </pc:sldChg>
      <pc:sldChg chg="del">
        <pc:chgData name="Aurelien Domont" userId="6da7715ce44349b3" providerId="LiveId" clId="{41F0A500-E4ED-4805-8D84-F6050E0C1B79}" dt="2023-02-16T03:28:03" v="77" actId="47"/>
        <pc:sldMkLst>
          <pc:docMk/>
          <pc:sldMk cId="3873630409" sldId="2829"/>
        </pc:sldMkLst>
      </pc:sldChg>
      <pc:sldChg chg="del">
        <pc:chgData name="Aurelien Domont" userId="6da7715ce44349b3" providerId="LiveId" clId="{41F0A500-E4ED-4805-8D84-F6050E0C1B79}" dt="2023-02-16T03:28:03" v="77" actId="47"/>
        <pc:sldMkLst>
          <pc:docMk/>
          <pc:sldMk cId="2587246912" sldId="2830"/>
        </pc:sldMkLst>
      </pc:sldChg>
      <pc:sldChg chg="del">
        <pc:chgData name="Aurelien Domont" userId="6da7715ce44349b3" providerId="LiveId" clId="{41F0A500-E4ED-4805-8D84-F6050E0C1B79}" dt="2023-02-16T03:28:03" v="77" actId="47"/>
        <pc:sldMkLst>
          <pc:docMk/>
          <pc:sldMk cId="4207867199" sldId="2831"/>
        </pc:sldMkLst>
      </pc:sldChg>
      <pc:sldChg chg="del">
        <pc:chgData name="Aurelien Domont" userId="6da7715ce44349b3" providerId="LiveId" clId="{41F0A500-E4ED-4805-8D84-F6050E0C1B79}" dt="2023-02-16T03:28:03" v="77" actId="47"/>
        <pc:sldMkLst>
          <pc:docMk/>
          <pc:sldMk cId="515077404" sldId="2832"/>
        </pc:sldMkLst>
      </pc:sldChg>
      <pc:sldChg chg="del">
        <pc:chgData name="Aurelien Domont" userId="6da7715ce44349b3" providerId="LiveId" clId="{41F0A500-E4ED-4805-8D84-F6050E0C1B79}" dt="2023-02-16T03:28:03" v="77" actId="47"/>
        <pc:sldMkLst>
          <pc:docMk/>
          <pc:sldMk cId="1807432079" sldId="2833"/>
        </pc:sldMkLst>
      </pc:sldChg>
      <pc:sldChg chg="del">
        <pc:chgData name="Aurelien Domont" userId="6da7715ce44349b3" providerId="LiveId" clId="{41F0A500-E4ED-4805-8D84-F6050E0C1B79}" dt="2023-02-16T03:28:03" v="77" actId="47"/>
        <pc:sldMkLst>
          <pc:docMk/>
          <pc:sldMk cId="448699485" sldId="2835"/>
        </pc:sldMkLst>
      </pc:sldChg>
      <pc:sldChg chg="del">
        <pc:chgData name="Aurelien Domont" userId="6da7715ce44349b3" providerId="LiveId" clId="{41F0A500-E4ED-4805-8D84-F6050E0C1B79}" dt="2023-02-16T03:28:03" v="77" actId="47"/>
        <pc:sldMkLst>
          <pc:docMk/>
          <pc:sldMk cId="3754344301" sldId="2836"/>
        </pc:sldMkLst>
      </pc:sldChg>
      <pc:sldChg chg="del">
        <pc:chgData name="Aurelien Domont" userId="6da7715ce44349b3" providerId="LiveId" clId="{41F0A500-E4ED-4805-8D84-F6050E0C1B79}" dt="2023-02-16T03:28:03" v="77" actId="47"/>
        <pc:sldMkLst>
          <pc:docMk/>
          <pc:sldMk cId="2844622679" sldId="2837"/>
        </pc:sldMkLst>
      </pc:sldChg>
      <pc:sldChg chg="del">
        <pc:chgData name="Aurelien Domont" userId="6da7715ce44349b3" providerId="LiveId" clId="{41F0A500-E4ED-4805-8D84-F6050E0C1B79}" dt="2023-02-16T03:28:03" v="77" actId="47"/>
        <pc:sldMkLst>
          <pc:docMk/>
          <pc:sldMk cId="931108701" sldId="2838"/>
        </pc:sldMkLst>
      </pc:sldChg>
      <pc:sldChg chg="del">
        <pc:chgData name="Aurelien Domont" userId="6da7715ce44349b3" providerId="LiveId" clId="{41F0A500-E4ED-4805-8D84-F6050E0C1B79}" dt="2023-02-16T03:28:03" v="77" actId="47"/>
        <pc:sldMkLst>
          <pc:docMk/>
          <pc:sldMk cId="1839749288" sldId="2839"/>
        </pc:sldMkLst>
      </pc:sldChg>
      <pc:sldChg chg="del">
        <pc:chgData name="Aurelien Domont" userId="6da7715ce44349b3" providerId="LiveId" clId="{41F0A500-E4ED-4805-8D84-F6050E0C1B79}" dt="2023-02-16T03:28:03" v="77" actId="47"/>
        <pc:sldMkLst>
          <pc:docMk/>
          <pc:sldMk cId="99299538" sldId="2840"/>
        </pc:sldMkLst>
      </pc:sldChg>
      <pc:sldChg chg="del">
        <pc:chgData name="Aurelien Domont" userId="6da7715ce44349b3" providerId="LiveId" clId="{41F0A500-E4ED-4805-8D84-F6050E0C1B79}" dt="2023-02-16T03:33:57.092" v="84" actId="47"/>
        <pc:sldMkLst>
          <pc:docMk/>
          <pc:sldMk cId="2897878408" sldId="2841"/>
        </pc:sldMkLst>
      </pc:sldChg>
      <pc:sldChg chg="del">
        <pc:chgData name="Aurelien Domont" userId="6da7715ce44349b3" providerId="LiveId" clId="{41F0A500-E4ED-4805-8D84-F6050E0C1B79}" dt="2023-02-16T03:29:10.201" v="78" actId="47"/>
        <pc:sldMkLst>
          <pc:docMk/>
          <pc:sldMk cId="351107340" sldId="2842"/>
        </pc:sldMkLst>
      </pc:sldChg>
      <pc:sldChg chg="del">
        <pc:chgData name="Aurelien Domont" userId="6da7715ce44349b3" providerId="LiveId" clId="{41F0A500-E4ED-4805-8D84-F6050E0C1B79}" dt="2023-02-16T03:29:10.201" v="78" actId="47"/>
        <pc:sldMkLst>
          <pc:docMk/>
          <pc:sldMk cId="3301408557" sldId="2843"/>
        </pc:sldMkLst>
      </pc:sldChg>
      <pc:sldChg chg="del">
        <pc:chgData name="Aurelien Domont" userId="6da7715ce44349b3" providerId="LiveId" clId="{41F0A500-E4ED-4805-8D84-F6050E0C1B79}" dt="2023-02-16T03:29:10.201" v="78" actId="47"/>
        <pc:sldMkLst>
          <pc:docMk/>
          <pc:sldMk cId="820944881" sldId="2844"/>
        </pc:sldMkLst>
      </pc:sldChg>
      <pc:sldChg chg="del">
        <pc:chgData name="Aurelien Domont" userId="6da7715ce44349b3" providerId="LiveId" clId="{41F0A500-E4ED-4805-8D84-F6050E0C1B79}" dt="2023-02-16T03:29:10.201" v="78" actId="47"/>
        <pc:sldMkLst>
          <pc:docMk/>
          <pc:sldMk cId="1182925878" sldId="2845"/>
        </pc:sldMkLst>
      </pc:sldChg>
      <pc:sldChg chg="del">
        <pc:chgData name="Aurelien Domont" userId="6da7715ce44349b3" providerId="LiveId" clId="{41F0A500-E4ED-4805-8D84-F6050E0C1B79}" dt="2023-02-16T03:29:10.201" v="78" actId="47"/>
        <pc:sldMkLst>
          <pc:docMk/>
          <pc:sldMk cId="2656530410" sldId="2846"/>
        </pc:sldMkLst>
      </pc:sldChg>
      <pc:sldChg chg="del">
        <pc:chgData name="Aurelien Domont" userId="6da7715ce44349b3" providerId="LiveId" clId="{41F0A500-E4ED-4805-8D84-F6050E0C1B79}" dt="2023-02-16T03:29:10.201" v="78" actId="47"/>
        <pc:sldMkLst>
          <pc:docMk/>
          <pc:sldMk cId="2759316881" sldId="2847"/>
        </pc:sldMkLst>
      </pc:sldChg>
      <pc:sldChg chg="del">
        <pc:chgData name="Aurelien Domont" userId="6da7715ce44349b3" providerId="LiveId" clId="{41F0A500-E4ED-4805-8D84-F6050E0C1B79}" dt="2023-02-16T03:29:10.201" v="78" actId="47"/>
        <pc:sldMkLst>
          <pc:docMk/>
          <pc:sldMk cId="2052774859" sldId="2848"/>
        </pc:sldMkLst>
      </pc:sldChg>
      <pc:sldChg chg="del">
        <pc:chgData name="Aurelien Domont" userId="6da7715ce44349b3" providerId="LiveId" clId="{41F0A500-E4ED-4805-8D84-F6050E0C1B79}" dt="2023-02-16T03:29:10.201" v="78" actId="47"/>
        <pc:sldMkLst>
          <pc:docMk/>
          <pc:sldMk cId="3027109485" sldId="2849"/>
        </pc:sldMkLst>
      </pc:sldChg>
      <pc:sldChg chg="del">
        <pc:chgData name="Aurelien Domont" userId="6da7715ce44349b3" providerId="LiveId" clId="{41F0A500-E4ED-4805-8D84-F6050E0C1B79}" dt="2023-02-16T03:29:10.201" v="78" actId="47"/>
        <pc:sldMkLst>
          <pc:docMk/>
          <pc:sldMk cId="1571382826" sldId="2850"/>
        </pc:sldMkLst>
      </pc:sldChg>
      <pc:sldChg chg="del">
        <pc:chgData name="Aurelien Domont" userId="6da7715ce44349b3" providerId="LiveId" clId="{41F0A500-E4ED-4805-8D84-F6050E0C1B79}" dt="2023-02-16T03:29:10.201" v="78" actId="47"/>
        <pc:sldMkLst>
          <pc:docMk/>
          <pc:sldMk cId="3635585553" sldId="2851"/>
        </pc:sldMkLst>
      </pc:sldChg>
      <pc:sldChg chg="del">
        <pc:chgData name="Aurelien Domont" userId="6da7715ce44349b3" providerId="LiveId" clId="{41F0A500-E4ED-4805-8D84-F6050E0C1B79}" dt="2023-02-16T03:33:21.421" v="83" actId="47"/>
        <pc:sldMkLst>
          <pc:docMk/>
          <pc:sldMk cId="2695002001" sldId="2852"/>
        </pc:sldMkLst>
      </pc:sldChg>
      <pc:sldChg chg="del">
        <pc:chgData name="Aurelien Domont" userId="6da7715ce44349b3" providerId="LiveId" clId="{41F0A500-E4ED-4805-8D84-F6050E0C1B79}" dt="2023-02-16T03:29:30.883" v="79" actId="47"/>
        <pc:sldMkLst>
          <pc:docMk/>
          <pc:sldMk cId="3951331113" sldId="2853"/>
        </pc:sldMkLst>
      </pc:sldChg>
      <pc:sldChg chg="del">
        <pc:chgData name="Aurelien Domont" userId="6da7715ce44349b3" providerId="LiveId" clId="{41F0A500-E4ED-4805-8D84-F6050E0C1B79}" dt="2023-02-16T03:29:30.883" v="79" actId="47"/>
        <pc:sldMkLst>
          <pc:docMk/>
          <pc:sldMk cId="802179577" sldId="2854"/>
        </pc:sldMkLst>
      </pc:sldChg>
      <pc:sldChg chg="del">
        <pc:chgData name="Aurelien Domont" userId="6da7715ce44349b3" providerId="LiveId" clId="{41F0A500-E4ED-4805-8D84-F6050E0C1B79}" dt="2023-02-16T03:29:30.883" v="79" actId="47"/>
        <pc:sldMkLst>
          <pc:docMk/>
          <pc:sldMk cId="652607941" sldId="2855"/>
        </pc:sldMkLst>
      </pc:sldChg>
      <pc:sldChg chg="del">
        <pc:chgData name="Aurelien Domont" userId="6da7715ce44349b3" providerId="LiveId" clId="{41F0A500-E4ED-4805-8D84-F6050E0C1B79}" dt="2023-02-16T03:29:30.883" v="79" actId="47"/>
        <pc:sldMkLst>
          <pc:docMk/>
          <pc:sldMk cId="1312466160" sldId="2856"/>
        </pc:sldMkLst>
      </pc:sldChg>
      <pc:sldChg chg="del">
        <pc:chgData name="Aurelien Domont" userId="6da7715ce44349b3" providerId="LiveId" clId="{41F0A500-E4ED-4805-8D84-F6050E0C1B79}" dt="2023-02-16T03:29:30.883" v="79" actId="47"/>
        <pc:sldMkLst>
          <pc:docMk/>
          <pc:sldMk cId="1521977314" sldId="2857"/>
        </pc:sldMkLst>
      </pc:sldChg>
      <pc:sldChg chg="del">
        <pc:chgData name="Aurelien Domont" userId="6da7715ce44349b3" providerId="LiveId" clId="{41F0A500-E4ED-4805-8D84-F6050E0C1B79}" dt="2023-02-16T03:11:56.728" v="70" actId="47"/>
        <pc:sldMkLst>
          <pc:docMk/>
          <pc:sldMk cId="1640665180" sldId="2865"/>
        </pc:sldMkLst>
      </pc:sldChg>
      <pc:sldChg chg="del">
        <pc:chgData name="Aurelien Domont" userId="6da7715ce44349b3" providerId="LiveId" clId="{41F0A500-E4ED-4805-8D84-F6050E0C1B79}" dt="2023-02-16T03:27:43.943" v="76" actId="47"/>
        <pc:sldMkLst>
          <pc:docMk/>
          <pc:sldMk cId="3610873108" sldId="2870"/>
        </pc:sldMkLst>
      </pc:sldChg>
      <pc:sldChg chg="del">
        <pc:chgData name="Aurelien Domont" userId="6da7715ce44349b3" providerId="LiveId" clId="{41F0A500-E4ED-4805-8D84-F6050E0C1B79}" dt="2023-02-16T03:28:03" v="77" actId="47"/>
        <pc:sldMkLst>
          <pc:docMk/>
          <pc:sldMk cId="2534788747" sldId="2871"/>
        </pc:sldMkLst>
      </pc:sldChg>
      <pc:sldChg chg="del">
        <pc:chgData name="Aurelien Domont" userId="6da7715ce44349b3" providerId="LiveId" clId="{41F0A500-E4ED-4805-8D84-F6050E0C1B79}" dt="2023-02-16T03:28:03" v="77" actId="47"/>
        <pc:sldMkLst>
          <pc:docMk/>
          <pc:sldMk cId="770456769" sldId="2872"/>
        </pc:sldMkLst>
      </pc:sldChg>
      <pc:sldChg chg="del">
        <pc:chgData name="Aurelien Domont" userId="6da7715ce44349b3" providerId="LiveId" clId="{41F0A500-E4ED-4805-8D84-F6050E0C1B79}" dt="2023-02-16T03:28:03" v="77" actId="47"/>
        <pc:sldMkLst>
          <pc:docMk/>
          <pc:sldMk cId="2841726167" sldId="2873"/>
        </pc:sldMkLst>
      </pc:sldChg>
      <pc:sldChg chg="del">
        <pc:chgData name="Aurelien Domont" userId="6da7715ce44349b3" providerId="LiveId" clId="{41F0A500-E4ED-4805-8D84-F6050E0C1B79}" dt="2023-02-16T03:29:30.883" v="79" actId="47"/>
        <pc:sldMkLst>
          <pc:docMk/>
          <pc:sldMk cId="958942344" sldId="2874"/>
        </pc:sldMkLst>
      </pc:sldChg>
      <pc:sldChg chg="del">
        <pc:chgData name="Aurelien Domont" userId="6da7715ce44349b3" providerId="LiveId" clId="{41F0A500-E4ED-4805-8D84-F6050E0C1B79}" dt="2023-02-16T03:29:30.883" v="79" actId="47"/>
        <pc:sldMkLst>
          <pc:docMk/>
          <pc:sldMk cId="2400123803" sldId="2875"/>
        </pc:sldMkLst>
      </pc:sldChg>
      <pc:sldChg chg="del">
        <pc:chgData name="Aurelien Domont" userId="6da7715ce44349b3" providerId="LiveId" clId="{41F0A500-E4ED-4805-8D84-F6050E0C1B79}" dt="2023-02-16T03:29:30.883" v="79" actId="47"/>
        <pc:sldMkLst>
          <pc:docMk/>
          <pc:sldMk cId="1390132971" sldId="2876"/>
        </pc:sldMkLst>
      </pc:sldChg>
      <pc:sldChg chg="del">
        <pc:chgData name="Aurelien Domont" userId="6da7715ce44349b3" providerId="LiveId" clId="{41F0A500-E4ED-4805-8D84-F6050E0C1B79}" dt="2023-02-16T03:29:30.883" v="79" actId="47"/>
        <pc:sldMkLst>
          <pc:docMk/>
          <pc:sldMk cId="3056090743" sldId="2877"/>
        </pc:sldMkLst>
      </pc:sldChg>
      <pc:sldChg chg="del">
        <pc:chgData name="Aurelien Domont" userId="6da7715ce44349b3" providerId="LiveId" clId="{41F0A500-E4ED-4805-8D84-F6050E0C1B79}" dt="2023-02-16T03:29:30.883" v="79" actId="47"/>
        <pc:sldMkLst>
          <pc:docMk/>
          <pc:sldMk cId="3184558705" sldId="2878"/>
        </pc:sldMkLst>
      </pc:sldChg>
      <pc:sldChg chg="del">
        <pc:chgData name="Aurelien Domont" userId="6da7715ce44349b3" providerId="LiveId" clId="{41F0A500-E4ED-4805-8D84-F6050E0C1B79}" dt="2023-02-16T03:29:30.883" v="79" actId="47"/>
        <pc:sldMkLst>
          <pc:docMk/>
          <pc:sldMk cId="988595457" sldId="2879"/>
        </pc:sldMkLst>
      </pc:sldChg>
      <pc:sldChg chg="del">
        <pc:chgData name="Aurelien Domont" userId="6da7715ce44349b3" providerId="LiveId" clId="{41F0A500-E4ED-4805-8D84-F6050E0C1B79}" dt="2023-02-16T03:29:30.883" v="79" actId="47"/>
        <pc:sldMkLst>
          <pc:docMk/>
          <pc:sldMk cId="357216409" sldId="2880"/>
        </pc:sldMkLst>
      </pc:sldChg>
      <pc:sldChg chg="del">
        <pc:chgData name="Aurelien Domont" userId="6da7715ce44349b3" providerId="LiveId" clId="{41F0A500-E4ED-4805-8D84-F6050E0C1B79}" dt="2023-02-16T03:33:57.092" v="84" actId="47"/>
        <pc:sldMkLst>
          <pc:docMk/>
          <pc:sldMk cId="3511227816" sldId="2881"/>
        </pc:sldMkLst>
      </pc:sldChg>
      <pc:sldChg chg="del">
        <pc:chgData name="Aurelien Domont" userId="6da7715ce44349b3" providerId="LiveId" clId="{41F0A500-E4ED-4805-8D84-F6050E0C1B79}" dt="2023-02-16T03:33:57.092" v="84" actId="47"/>
        <pc:sldMkLst>
          <pc:docMk/>
          <pc:sldMk cId="1280474636" sldId="2882"/>
        </pc:sldMkLst>
      </pc:sldChg>
      <pc:sldChg chg="del">
        <pc:chgData name="Aurelien Domont" userId="6da7715ce44349b3" providerId="LiveId" clId="{41F0A500-E4ED-4805-8D84-F6050E0C1B79}" dt="2023-02-16T03:28:03" v="77" actId="47"/>
        <pc:sldMkLst>
          <pc:docMk/>
          <pc:sldMk cId="370860101" sldId="2883"/>
        </pc:sldMkLst>
      </pc:sldChg>
      <pc:sldChg chg="addSp modSp del mod">
        <pc:chgData name="Aurelien Domont" userId="6da7715ce44349b3" providerId="LiveId" clId="{41F0A500-E4ED-4805-8D84-F6050E0C1B79}" dt="2023-02-16T04:00:00.239" v="171" actId="47"/>
        <pc:sldMkLst>
          <pc:docMk/>
          <pc:sldMk cId="481449207" sldId="2884"/>
        </pc:sldMkLst>
        <pc:spChg chg="add mod">
          <ac:chgData name="Aurelien Domont" userId="6da7715ce44349b3" providerId="LiveId" clId="{41F0A500-E4ED-4805-8D84-F6050E0C1B79}" dt="2023-02-16T03:54:41.610" v="169" actId="207"/>
          <ac:spMkLst>
            <pc:docMk/>
            <pc:sldMk cId="481449207" sldId="2884"/>
            <ac:spMk id="6" creationId="{9ED6F634-23B3-B197-B5A4-3F5A43B9B37F}"/>
          </ac:spMkLst>
        </pc:spChg>
        <pc:spChg chg="mod">
          <ac:chgData name="Aurelien Domont" userId="6da7715ce44349b3" providerId="LiveId" clId="{41F0A500-E4ED-4805-8D84-F6050E0C1B79}" dt="2023-02-16T03:54:46.256" v="170" actId="12"/>
          <ac:spMkLst>
            <pc:docMk/>
            <pc:sldMk cId="481449207" sldId="2884"/>
            <ac:spMk id="45" creationId="{C40ABB58-A617-4C1D-B300-D06F0DBE43C3}"/>
          </ac:spMkLst>
        </pc:spChg>
      </pc:sldChg>
      <pc:sldChg chg="add del">
        <pc:chgData name="Aurelien Domont" userId="6da7715ce44349b3" providerId="LiveId" clId="{41F0A500-E4ED-4805-8D84-F6050E0C1B79}" dt="2023-02-16T03:25:56.855" v="73" actId="47"/>
        <pc:sldMkLst>
          <pc:docMk/>
          <pc:sldMk cId="268471700" sldId="2886"/>
        </pc:sldMkLst>
      </pc:sldChg>
      <pc:sldChg chg="add">
        <pc:chgData name="Aurelien Domont" userId="6da7715ce44349b3" providerId="LiveId" clId="{41F0A500-E4ED-4805-8D84-F6050E0C1B79}" dt="2023-02-16T03:25:58.578" v="74"/>
        <pc:sldMkLst>
          <pc:docMk/>
          <pc:sldMk cId="300020402" sldId="2886"/>
        </pc:sldMkLst>
      </pc:sldChg>
      <pc:sldChg chg="add">
        <pc:chgData name="Aurelien Domont" userId="6da7715ce44349b3" providerId="LiveId" clId="{41F0A500-E4ED-4805-8D84-F6050E0C1B79}" dt="2023-02-16T03:25:58.578" v="74"/>
        <pc:sldMkLst>
          <pc:docMk/>
          <pc:sldMk cId="268471700" sldId="2887"/>
        </pc:sldMkLst>
      </pc:sldChg>
      <pc:sldChg chg="add">
        <pc:chgData name="Aurelien Domont" userId="6da7715ce44349b3" providerId="LiveId" clId="{41F0A500-E4ED-4805-8D84-F6050E0C1B79}" dt="2023-02-16T03:54:33.788" v="161"/>
        <pc:sldMkLst>
          <pc:docMk/>
          <pc:sldMk cId="143639471" sldId="2888"/>
        </pc:sldMkLst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0680FBE-A8DF-4758-9AC4-3A9E1039168F}" type="datetimeFigureOut">
              <a:rPr lang="en-US" smtClean="0"/>
              <a:t>10/8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679768-A2FC-4D08-91F6-8DCE6C566B3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025516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13577B-6902-467D-A26C-08A0DD5E4E03}" type="datetimeFigureOut">
              <a:rPr lang="en-US" smtClean="0"/>
              <a:t>10/8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F61EA0F-A667-4B49-8422-0062BC55E24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19102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61EA0F-A667-4B49-8422-0062BC55E24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939619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21204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5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6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7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2" Type="http://schemas.openxmlformats.org/officeDocument/2006/relationships/tags" Target="../tags/tag39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3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4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5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5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6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2" Type="http://schemas.openxmlformats.org/officeDocument/2006/relationships/tags" Target="../tags/tag52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8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9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4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0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5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2" Type="http://schemas.openxmlformats.org/officeDocument/2006/relationships/tags" Target="../tags/tag63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7.bin"/><Relationship Id="rId4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66.xml"/><Relationship Id="rId2" Type="http://schemas.openxmlformats.org/officeDocument/2006/relationships/tags" Target="../tags/tag65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68.xml"/><Relationship Id="rId2" Type="http://schemas.openxmlformats.org/officeDocument/2006/relationships/tags" Target="../tags/tag67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70.xml"/><Relationship Id="rId2" Type="http://schemas.openxmlformats.org/officeDocument/2006/relationships/tags" Target="../tags/tag69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0.bin"/><Relationship Id="rId4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72.xml"/><Relationship Id="rId2" Type="http://schemas.openxmlformats.org/officeDocument/2006/relationships/tags" Target="../tags/tag71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1.bin"/><Relationship Id="rId4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3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2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4.xml"/><Relationship Id="rId1" Type="http://schemas.openxmlformats.org/officeDocument/2006/relationships/vmlDrawing" Target="../drawings/vmlDrawing4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3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5.xml"/><Relationship Id="rId1" Type="http://schemas.openxmlformats.org/officeDocument/2006/relationships/vmlDrawing" Target="../drawings/vmlDrawing4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2" Type="http://schemas.openxmlformats.org/officeDocument/2006/relationships/tags" Target="../tags/tag78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6.bin"/><Relationship Id="rId4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81.xml"/><Relationship Id="rId2" Type="http://schemas.openxmlformats.org/officeDocument/2006/relationships/tags" Target="../tags/tag80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2" Type="http://schemas.openxmlformats.org/officeDocument/2006/relationships/tags" Target="../tags/tag82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8.bin"/><Relationship Id="rId4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85.xml"/><Relationship Id="rId2" Type="http://schemas.openxmlformats.org/officeDocument/2006/relationships/tags" Target="../tags/tag84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9.bin"/><Relationship Id="rId4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2" Type="http://schemas.openxmlformats.org/officeDocument/2006/relationships/tags" Target="../tags/tag86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0.bin"/><Relationship Id="rId4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8.xml"/><Relationship Id="rId1" Type="http://schemas.openxmlformats.org/officeDocument/2006/relationships/vmlDrawing" Target="../drawings/vmlDrawing5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1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9.xml"/><Relationship Id="rId1" Type="http://schemas.openxmlformats.org/officeDocument/2006/relationships/vmlDrawing" Target="../drawings/vmlDrawing5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2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90.xml"/><Relationship Id="rId1" Type="http://schemas.openxmlformats.org/officeDocument/2006/relationships/vmlDrawing" Target="../drawings/vmlDrawing5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3.bin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tags" Target="../tags/tag94.xml"/><Relationship Id="rId2" Type="http://schemas.openxmlformats.org/officeDocument/2006/relationships/tags" Target="../tags/tag93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5.bin"/><Relationship Id="rId4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tags" Target="../tags/tag98.xml"/><Relationship Id="rId2" Type="http://schemas.openxmlformats.org/officeDocument/2006/relationships/tags" Target="../tags/tag97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7.bin"/><Relationship Id="rId4" Type="http://schemas.openxmlformats.org/officeDocument/2006/relationships/slideMaster" Target="../slideMasters/slideMaster8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tags" Target="../tags/tag102.xml"/><Relationship Id="rId2" Type="http://schemas.openxmlformats.org/officeDocument/2006/relationships/tags" Target="../tags/tag101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9.bin"/><Relationship Id="rId4" Type="http://schemas.openxmlformats.org/officeDocument/2006/relationships/slideMaster" Target="../slideMasters/slideMaster9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95B5E3D-CB4A-42B4-B4A8-2B0BF3B8ABB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12307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9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95B5E3D-CB4A-42B4-B4A8-2B0BF3B8AB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DA92DAC-F488-43C5-9D7F-27FF4541E39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9347208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573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9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7E8864E-162B-40F9-9515-9BB374594B6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B93F75D9-C30E-4CA2-8807-34327E435F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338920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03FD45E-71ED-43B0-8AE7-C08D3A4C2AD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29474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3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03FD45E-71ED-43B0-8AE7-C08D3A4C2A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D618E95-38CE-4566-8258-0AC0A3A1123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49767204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1A1D2D6-5C0E-4C96-B1D6-EDE7E84FB75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79278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7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1A1D2D6-5C0E-4C96-B1D6-EDE7E84FB7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E88C93F9-9505-4E39-A774-1117B8BC856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41228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FFD641D-BB7B-469F-816A-DFA22DF811D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5672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1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FFD641D-BB7B-469F-816A-DFA22DF811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41232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B57718-4357-4914-80E6-3B747C6008C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9502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5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B57718-4357-4914-80E6-3B747C6008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150455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751107-3CDE-4232-A9E3-A96F072D3B6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5988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9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751107-3CDE-4232-A9E3-A96F072D3B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115027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256145A-495B-4022-B821-DD8A20D724F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6356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7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256145A-495B-4022-B821-DD8A20D724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40C7A3A3-6E96-4AA0-A49C-A1F160EFD2D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34304650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3923E8C-4F41-4FF2-B5C9-0708083043F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32787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1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3923E8C-4F41-4FF2-B5C9-0708083043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508AD5E-D75E-4A5B-B857-E7CC9DAD924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Slide Number Placeholder 1">
            <a:extLst>
              <a:ext uri="{FF2B5EF4-FFF2-40B4-BE49-F238E27FC236}">
                <a16:creationId xmlns:a16="http://schemas.microsoft.com/office/drawing/2014/main" id="{CBBAD4D9-14B9-4D74-8ABB-E76DAD68C3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159911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12816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5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27E5BF0-5196-473F-B84C-EE7FCA017F2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B93F75D9-C30E-4CA2-8807-34327E435F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125202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03FD45E-71ED-43B0-8AE7-C08D3A4C2AD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61442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9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03FD45E-71ED-43B0-8AE7-C08D3A4C2A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D971712-BE3F-4E1C-AB2E-A371CC7DD38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5750055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5656D9F-25FA-405A-9022-D20B6062561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29490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3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5656D9F-25FA-405A-9022-D20B606256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EE6A1B2-F3BE-47E8-B7AB-BED2735E985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Slide Number Placeholder 1">
            <a:extLst>
              <a:ext uri="{FF2B5EF4-FFF2-40B4-BE49-F238E27FC236}">
                <a16:creationId xmlns:a16="http://schemas.microsoft.com/office/drawing/2014/main" id="{CBBAD4D9-14B9-4D74-8ABB-E76DAD68C3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225896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1A1D2D6-5C0E-4C96-B1D6-EDE7E84FB75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217821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3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1A1D2D6-5C0E-4C96-B1D6-EDE7E84FB7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3616CAA-EC2D-4FA1-9158-BA98D4D9301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134563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FFD641D-BB7B-469F-816A-DFA22DF811D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9746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7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FFD641D-BB7B-469F-816A-DFA22DF811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640357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B57718-4357-4914-80E6-3B747C6008C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66366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21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B57718-4357-4914-80E6-3B747C6008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586595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751107-3CDE-4232-A9E3-A96F072D3B6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48803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45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751107-3CDE-4232-A9E3-A96F072D3B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587913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5A80A56-F2B8-4233-B98E-991B9849D5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004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93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5A80A56-F2B8-4233-B98E-991B9849D5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BDCF9E7F-00A7-443B-A8BD-D6DD49F766C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24530232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E69E61E-D2FE-4570-9EBE-E865ACCB537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44069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17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E69E61E-D2FE-4570-9EBE-E865ACCB53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F7B18B3-B399-4EBD-B41A-54B80DC4869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55414709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02221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1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318CD32-CC64-4768-B5C2-06F7D33E18E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39147744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9D6934F-8C9A-40B8-AA76-2797BABA31C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544028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65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9D6934F-8C9A-40B8-AA76-2797BABA31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B40D60E-6653-48F7-A274-5BACC65945B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27237529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D187F02-3C90-44EA-809A-294D7412CCF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8062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89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D187F02-3C90-44EA-809A-294D7412CC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D4E0BE9-D042-41EB-89B4-E156B1EDEA3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705919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078FF16-F396-46B0-B76B-3DE885687F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32203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13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078FF16-F396-46B0-B76B-3DE885687F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71465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006420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7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ADB49A0-8B85-4CDE-8262-9211F1AFE27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B93F75D9-C30E-4CA2-8807-34327E435F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vert="horz" lIns="91440" tIns="0" rIns="0" bIns="45720" rtlCol="0" anchor="ctr"/>
          <a:lstStyle>
            <a:lvl1pPr>
              <a:defRPr lang="en-US" sz="1000" smtClean="0">
                <a:solidFill>
                  <a:srgbClr val="ADAFBB"/>
                </a:solidFill>
              </a:defRPr>
            </a:lvl1pPr>
          </a:lstStyle>
          <a:p>
            <a:fld id="{37F5C94B-8C55-478B-B509-BAE6A06B2E2A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87016239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6CEDF0F-9090-417B-A721-862C9C8A2B9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21440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37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6CEDF0F-9090-417B-A721-862C9C8A2B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370717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84A5886-2DEB-405E-8AE4-F1A2D2405C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3380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61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84A5886-2DEB-405E-8AE4-F1A2D2405C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275842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E31A9B1-3614-4265-92AD-E4A55B124B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54637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09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E31A9B1-3614-4265-92AD-E4A55B124B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78BA310-1AB9-4912-9FCC-5CB57AFBF68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72800099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FCD1A4-A534-4A39-8F67-745C3B0F56E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1641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33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FCD1A4-A534-4A39-8F67-745C3B0F56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32D0182-8D62-4553-861A-6C3EE1A0080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60659830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731827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57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401EDD9-4356-4D92-BFA6-18D14C3583D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57635508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8066462-B21E-42BA-9849-0189692B071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995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1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8066462-B21E-42BA-9849-0189692B07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1498D13-FDB6-4894-B6DB-513BCEF6B98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57097608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7AEA052-D836-403B-9728-34A25E9C2C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36525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05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7AEA052-D836-403B-9728-34A25E9C2C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B76B91E-4B9A-4BDD-AF07-38C087D034E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739650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EC10801-724F-4C7C-B183-9B7C55022B4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45599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29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EC10801-724F-4C7C-B183-9B7C55022B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285590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3A17C64-B08B-47A8-A33B-EB28C23C62C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89415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53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3A17C64-B08B-47A8-A33B-EB28C23C6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963741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AB6336B-9556-4AD2-BB4C-BEE8752B0EE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22571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77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AB6336B-9556-4AD2-BB4C-BEE8752B0E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68744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33337E5-F939-452A-8B9D-AD5B5CAF188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29633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1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33337E5-F939-452A-8B9D-AD5B5CAF18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FE513CA-7CE5-4930-A743-60B6C3068A8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15904999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0ED4B2B-88C5-45AF-A5C1-78C797AD6EA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8223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25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0ED4B2B-88C5-45AF-A5C1-78C797AD6E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ED61E65-8E69-4519-8B63-721B7117E88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666860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3109269-4FFF-4EB1-A58A-7B8FDC8BE5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46594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49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3109269-4FFF-4EB1-A58A-7B8FDC8BE5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0D64B3F-295A-4A28-BC11-808C7B0F573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60010707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879059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73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A9BFA63-CD65-430C-A3EC-015E8DDF7F1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06448017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16F6200-8DF7-455A-B41B-E8A921FCF80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3981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97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16F6200-8DF7-455A-B41B-E8A921FCF8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66FCB3B-15D5-42F2-9818-7ACE52AE84A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57362699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B1F9D8D-77DA-48B3-9BC0-FC14D3AB630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83579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1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B1F9D8D-77DA-48B3-9BC0-FC14D3AB6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08C4684-AF30-4F89-B5B0-EA4C6662389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328622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78600AB-D0BD-4835-B978-ED5D266B1F6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74704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45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78600AB-D0BD-4835-B978-ED5D266B1F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21360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5DD7381-50BA-41E9-84D9-A4163E043F9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64850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69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5DD7381-50BA-41E9-84D9-A4163E043F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377968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DD9909C-44BE-4347-ADAE-5582FF871A6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10669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93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DD9909C-44BE-4347-ADAE-5582FF871A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775285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83990432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Slide Number Placeholder 1">
            <a:extLst>
              <a:ext uri="{FF2B5EF4-FFF2-40B4-BE49-F238E27FC236}">
                <a16:creationId xmlns:a16="http://schemas.microsoft.com/office/drawing/2014/main" id="{CBBAD4D9-14B9-4D74-8ABB-E76DAD68C3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602599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7B69D1-1AC7-4788-B7F1-4214ACF38D3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23503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5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7B69D1-1AC7-4788-B7F1-4214ACF38D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8CC8475-D9DE-4E1C-B79D-4F1693FA344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672155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02594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41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AABDE05-52B6-4020-83AF-9DE428B90CD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B93F75D9-C30E-4CA2-8807-34327E435F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290624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71527791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450967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314956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281681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675237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 vert="horz" lIns="91440" tIns="45720" rIns="91440" bIns="45720" rtlCol="0" anchor="ctr"/>
          <a:lstStyle>
            <a:lvl1pPr algn="r">
              <a:defRPr lang="en-US" sz="1000" smtClean="0"/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37869727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1000" smtClean="0"/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11806145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93734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89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AABDE05-52B6-4020-83AF-9DE428B90CD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1000" smtClean="0"/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77730054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7264535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22A8FC1-56C6-4CB8-844A-9296528056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28868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9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22A8FC1-56C6-4CB8-844A-9296528056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688560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15221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418689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286901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778001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 vert="horz" lIns="91440" tIns="45720" rIns="91440" bIns="45720" rtlCol="0" anchor="ctr"/>
          <a:lstStyle>
            <a:lvl1pPr algn="r">
              <a:defRPr lang="en-US" sz="1000" smtClean="0"/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21685935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1000" smtClean="0"/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01553313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65365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37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AABDE05-52B6-4020-83AF-9DE428B90CD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1000" smtClean="0"/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83788496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90485122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62903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54267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F3D51A-DDA6-4B22-933D-3CF618BD438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66020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3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F3D51A-DDA6-4B22-933D-3CF618BD43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19632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545985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43854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256145A-495B-4022-B821-DD8A20D724F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52164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1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256145A-495B-4022-B821-DD8A20D724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B52DD5D3-52AA-4709-85C9-1D9916B7417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1942412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3923E8C-4F41-4FF2-B5C9-0708083043F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35308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5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3923E8C-4F41-4FF2-B5C9-0708083043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55ECDAF-D721-41FB-95E8-475C9A67BD3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Slide Number Placeholder 1">
            <a:extLst>
              <a:ext uri="{FF2B5EF4-FFF2-40B4-BE49-F238E27FC236}">
                <a16:creationId xmlns:a16="http://schemas.microsoft.com/office/drawing/2014/main" id="{CBBAD4D9-14B9-4D74-8ABB-E76DAD68C3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47966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oleObject" Target="../embeddings/oleObject9.bin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tags" Target="../tags/tag17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tags" Target="../tags/tag16.xml"/><Relationship Id="rId5" Type="http://schemas.openxmlformats.org/officeDocument/2006/relationships/slideLayout" Target="../slideLayouts/slideLayout12.xml"/><Relationship Id="rId10" Type="http://schemas.openxmlformats.org/officeDocument/2006/relationships/vmlDrawing" Target="../drawings/vmlDrawing9.vml"/><Relationship Id="rId4" Type="http://schemas.openxmlformats.org/officeDocument/2006/relationships/slideLayout" Target="../slideLayouts/slideLayout11.xml"/><Relationship Id="rId9" Type="http://schemas.openxmlformats.org/officeDocument/2006/relationships/theme" Target="../theme/theme2.xml"/><Relationship Id="rId14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oleObject" Target="../embeddings/oleObject18.bin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tags" Target="../tags/tag32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tags" Target="../tags/tag31.xml"/><Relationship Id="rId5" Type="http://schemas.openxmlformats.org/officeDocument/2006/relationships/slideLayout" Target="../slideLayouts/slideLayout20.xml"/><Relationship Id="rId10" Type="http://schemas.openxmlformats.org/officeDocument/2006/relationships/vmlDrawing" Target="../drawings/vmlDrawing18.vml"/><Relationship Id="rId4" Type="http://schemas.openxmlformats.org/officeDocument/2006/relationships/slideLayout" Target="../slideLayouts/slideLayout19.xml"/><Relationship Id="rId9" Type="http://schemas.openxmlformats.org/officeDocument/2006/relationships/theme" Target="../theme/theme3.xml"/><Relationship Id="rId14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oleObject" Target="../embeddings/oleObject27.bin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ags" Target="../tags/tag47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tags" Target="../tags/tag46.xml"/><Relationship Id="rId5" Type="http://schemas.openxmlformats.org/officeDocument/2006/relationships/slideLayout" Target="../slideLayouts/slideLayout28.xml"/><Relationship Id="rId10" Type="http://schemas.openxmlformats.org/officeDocument/2006/relationships/vmlDrawing" Target="../drawings/vmlDrawing27.vml"/><Relationship Id="rId4" Type="http://schemas.openxmlformats.org/officeDocument/2006/relationships/slideLayout" Target="../slideLayouts/slideLayout27.xml"/><Relationship Id="rId9" Type="http://schemas.openxmlformats.org/officeDocument/2006/relationships/theme" Target="../theme/theme4.xml"/><Relationship Id="rId14" Type="http://schemas.openxmlformats.org/officeDocument/2006/relationships/image" Target="../media/image1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oleObject" Target="../embeddings/oleObject36.bin"/><Relationship Id="rId3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8.xml"/><Relationship Id="rId12" Type="http://schemas.openxmlformats.org/officeDocument/2006/relationships/tags" Target="../tags/tag62.xml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tags" Target="../tags/tag61.xml"/><Relationship Id="rId5" Type="http://schemas.openxmlformats.org/officeDocument/2006/relationships/slideLayout" Target="../slideLayouts/slideLayout36.xml"/><Relationship Id="rId10" Type="http://schemas.openxmlformats.org/officeDocument/2006/relationships/vmlDrawing" Target="../drawings/vmlDrawing36.vml"/><Relationship Id="rId4" Type="http://schemas.openxmlformats.org/officeDocument/2006/relationships/slideLayout" Target="../slideLayouts/slideLayout35.xml"/><Relationship Id="rId9" Type="http://schemas.openxmlformats.org/officeDocument/2006/relationships/theme" Target="../theme/theme5.xml"/><Relationship Id="rId14" Type="http://schemas.openxmlformats.org/officeDocument/2006/relationships/image" Target="../media/image1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oleObject" Target="../embeddings/oleObject45.bin"/><Relationship Id="rId3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6.xml"/><Relationship Id="rId12" Type="http://schemas.openxmlformats.org/officeDocument/2006/relationships/tags" Target="../tags/tag77.xml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tags" Target="../tags/tag76.xml"/><Relationship Id="rId5" Type="http://schemas.openxmlformats.org/officeDocument/2006/relationships/slideLayout" Target="../slideLayouts/slideLayout44.xml"/><Relationship Id="rId10" Type="http://schemas.openxmlformats.org/officeDocument/2006/relationships/vmlDrawing" Target="../drawings/vmlDrawing45.vml"/><Relationship Id="rId4" Type="http://schemas.openxmlformats.org/officeDocument/2006/relationships/slideLayout" Target="../slideLayouts/slideLayout43.xml"/><Relationship Id="rId9" Type="http://schemas.openxmlformats.org/officeDocument/2006/relationships/theme" Target="../theme/theme6.xml"/><Relationship Id="rId14" Type="http://schemas.openxmlformats.org/officeDocument/2006/relationships/image" Target="../media/image1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13" Type="http://schemas.openxmlformats.org/officeDocument/2006/relationships/oleObject" Target="../embeddings/oleObject54.bin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12" Type="http://schemas.openxmlformats.org/officeDocument/2006/relationships/tags" Target="../tags/tag92.xml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tags" Target="../tags/tag91.xml"/><Relationship Id="rId5" Type="http://schemas.openxmlformats.org/officeDocument/2006/relationships/slideLayout" Target="../slideLayouts/slideLayout52.xml"/><Relationship Id="rId10" Type="http://schemas.openxmlformats.org/officeDocument/2006/relationships/vmlDrawing" Target="../drawings/vmlDrawing54.vml"/><Relationship Id="rId4" Type="http://schemas.openxmlformats.org/officeDocument/2006/relationships/slideLayout" Target="../slideLayouts/slideLayout51.xml"/><Relationship Id="rId9" Type="http://schemas.openxmlformats.org/officeDocument/2006/relationships/theme" Target="../theme/theme7.xml"/><Relationship Id="rId14" Type="http://schemas.openxmlformats.org/officeDocument/2006/relationships/image" Target="../media/image1.emf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13" Type="http://schemas.openxmlformats.org/officeDocument/2006/relationships/oleObject" Target="../embeddings/oleObject56.bin"/><Relationship Id="rId3" Type="http://schemas.openxmlformats.org/officeDocument/2006/relationships/slideLayout" Target="../slideLayouts/slideLayout58.xml"/><Relationship Id="rId7" Type="http://schemas.openxmlformats.org/officeDocument/2006/relationships/slideLayout" Target="../slideLayouts/slideLayout62.xml"/><Relationship Id="rId12" Type="http://schemas.openxmlformats.org/officeDocument/2006/relationships/tags" Target="../tags/tag96.xml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tags" Target="../tags/tag95.xml"/><Relationship Id="rId5" Type="http://schemas.openxmlformats.org/officeDocument/2006/relationships/slideLayout" Target="../slideLayouts/slideLayout60.xml"/><Relationship Id="rId10" Type="http://schemas.openxmlformats.org/officeDocument/2006/relationships/vmlDrawing" Target="../drawings/vmlDrawing56.vml"/><Relationship Id="rId4" Type="http://schemas.openxmlformats.org/officeDocument/2006/relationships/slideLayout" Target="../slideLayouts/slideLayout59.xml"/><Relationship Id="rId9" Type="http://schemas.openxmlformats.org/officeDocument/2006/relationships/theme" Target="../theme/theme8.xml"/><Relationship Id="rId14" Type="http://schemas.openxmlformats.org/officeDocument/2006/relationships/image" Target="../media/image1.emf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1.xml"/><Relationship Id="rId13" Type="http://schemas.openxmlformats.org/officeDocument/2006/relationships/oleObject" Target="../embeddings/oleObject58.bin"/><Relationship Id="rId3" Type="http://schemas.openxmlformats.org/officeDocument/2006/relationships/slideLayout" Target="../slideLayouts/slideLayout66.xml"/><Relationship Id="rId7" Type="http://schemas.openxmlformats.org/officeDocument/2006/relationships/slideLayout" Target="../slideLayouts/slideLayout70.xml"/><Relationship Id="rId12" Type="http://schemas.openxmlformats.org/officeDocument/2006/relationships/tags" Target="../tags/tag100.xml"/><Relationship Id="rId2" Type="http://schemas.openxmlformats.org/officeDocument/2006/relationships/slideLayout" Target="../slideLayouts/slideLayout65.xml"/><Relationship Id="rId1" Type="http://schemas.openxmlformats.org/officeDocument/2006/relationships/slideLayout" Target="../slideLayouts/slideLayout64.xml"/><Relationship Id="rId6" Type="http://schemas.openxmlformats.org/officeDocument/2006/relationships/slideLayout" Target="../slideLayouts/slideLayout69.xml"/><Relationship Id="rId11" Type="http://schemas.openxmlformats.org/officeDocument/2006/relationships/tags" Target="../tags/tag99.xml"/><Relationship Id="rId5" Type="http://schemas.openxmlformats.org/officeDocument/2006/relationships/slideLayout" Target="../slideLayouts/slideLayout68.xml"/><Relationship Id="rId10" Type="http://schemas.openxmlformats.org/officeDocument/2006/relationships/vmlDrawing" Target="../drawings/vmlDrawing58.vml"/><Relationship Id="rId4" Type="http://schemas.openxmlformats.org/officeDocument/2006/relationships/slideLayout" Target="../slideLayouts/slideLayout67.xml"/><Relationship Id="rId9" Type="http://schemas.openxmlformats.org/officeDocument/2006/relationships/theme" Target="../theme/theme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833578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"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A767ABE-C4E1-4B07-8DB9-34D6A2E637D2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946511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22" r:id="rId1"/>
    <p:sldLayoutId id="2147483923" r:id="rId2"/>
    <p:sldLayoutId id="2147483924" r:id="rId3"/>
    <p:sldLayoutId id="2147483925" r:id="rId4"/>
    <p:sldLayoutId id="2147483926" r:id="rId5"/>
    <p:sldLayoutId id="2147483927" r:id="rId6"/>
    <p:sldLayoutId id="2147483928" r:id="rId7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1729800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7" name="think-cell Slide" r:id="rId13" imgW="344" imgH="344" progId="TCLayout.ActiveDocument.1">
                  <p:embed/>
                </p:oleObj>
              </mc:Choice>
              <mc:Fallback>
                <p:oleObj name="think-cell Slide" r:id="rId13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FA45CBE-6EDD-47CF-839C-634311055A9D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58457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2" r:id="rId1"/>
    <p:sldLayoutId id="2147484003" r:id="rId2"/>
    <p:sldLayoutId id="2147484004" r:id="rId3"/>
    <p:sldLayoutId id="2147484005" r:id="rId4"/>
    <p:sldLayoutId id="2147484006" r:id="rId5"/>
    <p:sldLayoutId id="2147484007" r:id="rId6"/>
    <p:sldLayoutId id="2147484008" r:id="rId7"/>
    <p:sldLayoutId id="2147484009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2927624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3" name="think-cell Slide" r:id="rId13" imgW="344" imgH="344" progId="TCLayout.ActiveDocument.1">
                  <p:embed/>
                </p:oleObj>
              </mc:Choice>
              <mc:Fallback>
                <p:oleObj name="think-cell Slide" r:id="rId13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00F4A05-5FC6-4EF6-9F0A-50169E71CEDB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65069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1" r:id="rId1"/>
    <p:sldLayoutId id="2147484012" r:id="rId2"/>
    <p:sldLayoutId id="2147484013" r:id="rId3"/>
    <p:sldLayoutId id="2147484014" r:id="rId4"/>
    <p:sldLayoutId id="2147484015" r:id="rId5"/>
    <p:sldLayoutId id="2147484016" r:id="rId6"/>
    <p:sldLayoutId id="2147484017" r:id="rId7"/>
    <p:sldLayoutId id="2147484018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4090549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69" name="think-cell Slide" r:id="rId13" imgW="344" imgH="344" progId="TCLayout.ActiveDocument.1">
                  <p:embed/>
                </p:oleObj>
              </mc:Choice>
              <mc:Fallback>
                <p:oleObj name="think-cell Slide" r:id="rId13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90DF5E7C-B407-4334-9B3E-D6F721C3ACBB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0">
                <a:solidFill>
                  <a:srgbClr val="B6B8C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53719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0" r:id="rId1"/>
    <p:sldLayoutId id="2147484021" r:id="rId2"/>
    <p:sldLayoutId id="2147484022" r:id="rId3"/>
    <p:sldLayoutId id="2147484023" r:id="rId4"/>
    <p:sldLayoutId id="2147484024" r:id="rId5"/>
    <p:sldLayoutId id="2147484025" r:id="rId6"/>
    <p:sldLayoutId id="2147484026" r:id="rId7"/>
    <p:sldLayoutId id="2147484027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9560202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85" name="think-cell Slide" r:id="rId13" imgW="344" imgH="344" progId="TCLayout.ActiveDocument.1">
                  <p:embed/>
                </p:oleObj>
              </mc:Choice>
              <mc:Fallback>
                <p:oleObj name="think-cell Slide" r:id="rId13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907F74DD-537C-460A-8A03-4AF118351BE8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0">
                <a:solidFill>
                  <a:srgbClr val="B6B8C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93315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9" r:id="rId1"/>
    <p:sldLayoutId id="2147484030" r:id="rId2"/>
    <p:sldLayoutId id="2147484031" r:id="rId3"/>
    <p:sldLayoutId id="2147484032" r:id="rId4"/>
    <p:sldLayoutId id="2147484033" r:id="rId5"/>
    <p:sldLayoutId id="2147484034" r:id="rId6"/>
    <p:sldLayoutId id="2147484035" r:id="rId7"/>
    <p:sldLayoutId id="2147484036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0281675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01" name="think-cell Slide" r:id="rId13" imgW="344" imgH="344" progId="TCLayout.ActiveDocument.1">
                  <p:embed/>
                </p:oleObj>
              </mc:Choice>
              <mc:Fallback>
                <p:oleObj name="think-cell Slide" r:id="rId13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22C0B89-B0D4-461C-BEF4-713AE5855FA4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0">
                <a:solidFill>
                  <a:srgbClr val="B6B8C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13132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8" r:id="rId1"/>
    <p:sldLayoutId id="2147484039" r:id="rId2"/>
    <p:sldLayoutId id="2147484040" r:id="rId3"/>
    <p:sldLayoutId id="2147484041" r:id="rId4"/>
    <p:sldLayoutId id="2147484042" r:id="rId5"/>
    <p:sldLayoutId id="2147484043" r:id="rId6"/>
    <p:sldLayoutId id="2147484044" r:id="rId7"/>
    <p:sldLayoutId id="2147484045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5887058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17" name="think-cell Slide" r:id="rId13" imgW="344" imgH="344" progId="TCLayout.ActiveDocument.1">
                  <p:embed/>
                </p:oleObj>
              </mc:Choice>
              <mc:Fallback>
                <p:oleObj name="think-cell Slide" r:id="rId13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B7F7BCE-5DDF-4F0C-832D-8348B8239FF0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92301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7" r:id="rId1"/>
    <p:sldLayoutId id="2147484048" r:id="rId2"/>
    <p:sldLayoutId id="2147484049" r:id="rId3"/>
    <p:sldLayoutId id="2147484050" r:id="rId4"/>
    <p:sldLayoutId id="2147484051" r:id="rId5"/>
    <p:sldLayoutId id="2147484052" r:id="rId6"/>
    <p:sldLayoutId id="2147484053" r:id="rId7"/>
    <p:sldLayoutId id="2147484054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7931161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65" name="think-cell Slide" r:id="rId13" imgW="344" imgH="344" progId="TCLayout.ActiveDocument.1">
                  <p:embed/>
                </p:oleObj>
              </mc:Choice>
              <mc:Fallback>
                <p:oleObj name="think-cell Slide" r:id="rId13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B7F7BCE-5DDF-4F0C-832D-8348B8239FF0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en-US" sz="1000" b="0" smtClean="0">
                <a:solidFill>
                  <a:srgbClr val="B6B8C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r"/>
            <a:fld id="{37F5C94B-8C55-478B-B509-BAE6A06B2E2A}" type="slidenum">
              <a:rPr lang="en-US" smtClean="0"/>
              <a:pPr algn="r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79039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6" r:id="rId1"/>
    <p:sldLayoutId id="2147484057" r:id="rId2"/>
    <p:sldLayoutId id="2147484058" r:id="rId3"/>
    <p:sldLayoutId id="2147484059" r:id="rId4"/>
    <p:sldLayoutId id="2147484060" r:id="rId5"/>
    <p:sldLayoutId id="2147484061" r:id="rId6"/>
    <p:sldLayoutId id="2147484062" r:id="rId7"/>
    <p:sldLayoutId id="2147484063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9772303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13" name="think-cell Slide" r:id="rId13" imgW="344" imgH="344" progId="TCLayout.ActiveDocument.1">
                  <p:embed/>
                </p:oleObj>
              </mc:Choice>
              <mc:Fallback>
                <p:oleObj name="think-cell Slide" r:id="rId13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B7F7BCE-5DDF-4F0C-832D-8348B8239FF0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en-US" sz="1000" b="0" smtClean="0">
                <a:solidFill>
                  <a:srgbClr val="B6B8C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r"/>
            <a:fld id="{37F5C94B-8C55-478B-B509-BAE6A06B2E2A}" type="slidenum">
              <a:rPr lang="en-US" smtClean="0"/>
              <a:pPr algn="r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97944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5" r:id="rId1"/>
    <p:sldLayoutId id="2147484066" r:id="rId2"/>
    <p:sldLayoutId id="2147484067" r:id="rId3"/>
    <p:sldLayoutId id="2147484068" r:id="rId4"/>
    <p:sldLayoutId id="2147484069" r:id="rId5"/>
    <p:sldLayoutId id="2147484070" r:id="rId6"/>
    <p:sldLayoutId id="2147484071" r:id="rId7"/>
    <p:sldLayoutId id="2147484072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104.xml"/><Relationship Id="rId7" Type="http://schemas.openxmlformats.org/officeDocument/2006/relationships/image" Target="../media/image1.emf"/><Relationship Id="rId2" Type="http://schemas.openxmlformats.org/officeDocument/2006/relationships/tags" Target="../tags/tag103.xml"/><Relationship Id="rId1" Type="http://schemas.openxmlformats.org/officeDocument/2006/relationships/vmlDrawing" Target="../drawings/vmlDrawing60.vml"/><Relationship Id="rId6" Type="http://schemas.openxmlformats.org/officeDocument/2006/relationships/oleObject" Target="../embeddings/oleObject60.bin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5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4.jp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.png"/><Relationship Id="rId4" Type="http://schemas.openxmlformats.org/officeDocument/2006/relationships/image" Target="../media/image4.jp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jp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106.xml"/><Relationship Id="rId7" Type="http://schemas.openxmlformats.org/officeDocument/2006/relationships/image" Target="../media/image1.emf"/><Relationship Id="rId2" Type="http://schemas.openxmlformats.org/officeDocument/2006/relationships/tags" Target="../tags/tag105.xml"/><Relationship Id="rId1" Type="http://schemas.openxmlformats.org/officeDocument/2006/relationships/vmlDrawing" Target="../drawings/vmlDrawing61.vml"/><Relationship Id="rId6" Type="http://schemas.openxmlformats.org/officeDocument/2006/relationships/oleObject" Target="../embeddings/oleObject61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1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A1A0FD28-B360-4C9C-A1CC-D67C30C868F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37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A1A0FD28-B360-4C9C-A1CC-D67C30C868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7C222716-69D1-4221-B418-044978CCFED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61080C-C60C-4746-B6B1-A9A4FFA867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0" y="810229"/>
            <a:ext cx="11329241" cy="1967160"/>
          </a:xfrm>
        </p:spPr>
        <p:txBody>
          <a:bodyPr vert="horz">
            <a:normAutofit/>
          </a:bodyPr>
          <a:lstStyle/>
          <a:p>
            <a:pPr>
              <a:defRPr/>
            </a:pPr>
            <a:r>
              <a:rPr lang="en-US" sz="4400" dirty="0" smtClean="0"/>
              <a:t>Discover #</a:t>
            </a:r>
            <a:r>
              <a:rPr lang="en-US" sz="4400" dirty="0" err="1" smtClean="0"/>
              <a:t>Erasmus</a:t>
            </a:r>
            <a:r>
              <a:rPr lang="en-US" sz="4400" dirty="0" err="1" smtClean="0"/>
              <a:t>Days</a:t>
            </a:r>
            <a:r>
              <a:rPr lang="en-US" sz="4400" dirty="0" smtClean="0"/>
              <a:t> @ FAIR/GSI</a:t>
            </a:r>
            <a:endParaRPr lang="en-US" sz="4800" b="0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2436D48A-FAB5-4E4C-AB97-233E7A3795E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15728" y="3557921"/>
            <a:ext cx="5316053" cy="1115177"/>
          </a:xfrm>
        </p:spPr>
        <p:txBody>
          <a:bodyPr wrap="square" lIns="0" tIns="0" rIns="0" bIns="0">
            <a:spAutoFit/>
          </a:bodyPr>
          <a:lstStyle/>
          <a:p>
            <a:r>
              <a:rPr lang="en-GB" sz="2000" dirty="0" smtClean="0">
                <a:solidFill>
                  <a:schemeClr val="accent1"/>
                </a:solidFill>
              </a:rPr>
              <a:t>Presented by</a:t>
            </a:r>
          </a:p>
          <a:p>
            <a:r>
              <a:rPr lang="en-GB" b="1" dirty="0" smtClean="0">
                <a:solidFill>
                  <a:schemeClr val="accent1"/>
                </a:solidFill>
              </a:rPr>
              <a:t>Dr Pradeep Ghosh</a:t>
            </a:r>
            <a:endParaRPr lang="en-GB" b="1" dirty="0" smtClean="0">
              <a:solidFill>
                <a:schemeClr val="accent1"/>
              </a:solidFill>
            </a:endParaRPr>
          </a:p>
          <a:p>
            <a:r>
              <a:rPr lang="en-GB" sz="1800" b="1" dirty="0" smtClean="0">
                <a:solidFill>
                  <a:schemeClr val="accent1"/>
                </a:solidFill>
              </a:rPr>
              <a:t>Head, International </a:t>
            </a:r>
            <a:r>
              <a:rPr lang="en-GB" sz="1800" b="1" dirty="0" smtClean="0">
                <a:solidFill>
                  <a:schemeClr val="accent1"/>
                </a:solidFill>
              </a:rPr>
              <a:t>Cooperation Office </a:t>
            </a:r>
            <a:endParaRPr lang="en-US" sz="1800" dirty="0">
              <a:solidFill>
                <a:schemeClr val="accent1"/>
              </a:solidFill>
            </a:endParaRPr>
          </a:p>
        </p:txBody>
      </p:sp>
      <p:sp>
        <p:nvSpPr>
          <p:cNvPr id="8" name="Freeform 11"/>
          <p:cNvSpPr/>
          <p:nvPr/>
        </p:nvSpPr>
        <p:spPr>
          <a:xfrm>
            <a:off x="9869726" y="4844556"/>
            <a:ext cx="1962055" cy="1962055"/>
          </a:xfrm>
          <a:custGeom>
            <a:avLst/>
            <a:gdLst/>
            <a:ahLst/>
            <a:cxnLst/>
            <a:rect l="l" t="t" r="r" b="b"/>
            <a:pathLst>
              <a:path w="1962055" h="1962055">
                <a:moveTo>
                  <a:pt x="0" y="0"/>
                </a:moveTo>
                <a:lnTo>
                  <a:pt x="1962055" y="0"/>
                </a:lnTo>
                <a:lnTo>
                  <a:pt x="1962055" y="1962055"/>
                </a:lnTo>
                <a:lnTo>
                  <a:pt x="0" y="1962055"/>
                </a:lnTo>
                <a:lnTo>
                  <a:pt x="0" y="0"/>
                </a:lnTo>
                <a:close/>
              </a:path>
            </a:pathLst>
          </a:custGeom>
          <a:blipFill>
            <a:blip r:embed="rId8"/>
            <a:stretch>
              <a:fillRect/>
            </a:stretch>
          </a:blipFill>
        </p:spPr>
      </p:sp>
      <p:pic>
        <p:nvPicPr>
          <p:cNvPr id="3" name="Picture 2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3325" y="3089746"/>
            <a:ext cx="4922352" cy="3509619"/>
          </a:xfrm>
          <a:prstGeom prst="rect">
            <a:avLst/>
          </a:prstGeom>
        </p:spPr>
      </p:pic>
      <p:sp>
        <p:nvSpPr>
          <p:cNvPr id="10" name="Freeform 8"/>
          <p:cNvSpPr/>
          <p:nvPr/>
        </p:nvSpPr>
        <p:spPr>
          <a:xfrm>
            <a:off x="6835139" y="5028293"/>
            <a:ext cx="3313557" cy="1341510"/>
          </a:xfrm>
          <a:custGeom>
            <a:avLst/>
            <a:gdLst/>
            <a:ahLst/>
            <a:cxnLst/>
            <a:rect l="l" t="t" r="r" b="b"/>
            <a:pathLst>
              <a:path w="5020893" h="1952796">
                <a:moveTo>
                  <a:pt x="0" y="0"/>
                </a:moveTo>
                <a:lnTo>
                  <a:pt x="5020894" y="0"/>
                </a:lnTo>
                <a:lnTo>
                  <a:pt x="5020894" y="1952796"/>
                </a:lnTo>
                <a:lnTo>
                  <a:pt x="0" y="1952796"/>
                </a:lnTo>
                <a:lnTo>
                  <a:pt x="0" y="0"/>
                </a:lnTo>
                <a:close/>
              </a:path>
            </a:pathLst>
          </a:custGeom>
          <a:blipFill>
            <a:blip r:embed="rId10"/>
            <a:stretch>
              <a:fillRect l="-507" t="-293" r="-507"/>
            </a:stretch>
          </a:blipFill>
        </p:spPr>
      </p:sp>
    </p:spTree>
    <p:extLst>
      <p:ext uri="{BB962C8B-B14F-4D97-AF65-F5344CB8AC3E}">
        <p14:creationId xmlns:p14="http://schemas.microsoft.com/office/powerpoint/2010/main" val="127843772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lan for the Da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2</a:t>
            </a:fld>
            <a:endParaRPr lang="en-US" sz="1000" dirty="0">
              <a:solidFill>
                <a:srgbClr val="ADAFBB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3052" y="2329690"/>
            <a:ext cx="2695576" cy="1797216"/>
          </a:xfrm>
          <a:prstGeom prst="rect">
            <a:avLst/>
          </a:prstGeom>
        </p:spPr>
      </p:pic>
      <p:sp>
        <p:nvSpPr>
          <p:cNvPr id="14" name="TextBox 12"/>
          <p:cNvSpPr txBox="1"/>
          <p:nvPr/>
        </p:nvSpPr>
        <p:spPr>
          <a:xfrm>
            <a:off x="405995" y="1727200"/>
            <a:ext cx="2453319" cy="533304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50800" tIns="50800" rIns="50800" bIns="50800" rtlCol="0" anchor="ctr"/>
          <a:lstStyle>
            <a:defPPr>
              <a:defRPr lang="en-US"/>
            </a:defPPr>
            <a:lvl1pPr lvl="0" indent="0" algn="ctr">
              <a:lnSpc>
                <a:spcPts val="4114"/>
              </a:lnSpc>
              <a:spcBef>
                <a:spcPct val="0"/>
              </a:spcBef>
              <a:defRPr sz="2000" spc="29">
                <a:solidFill>
                  <a:srgbClr val="FFFFFF"/>
                </a:solidFill>
                <a:latin typeface="DM Sans Bold"/>
              </a:defRPr>
            </a:lvl1pPr>
          </a:lstStyle>
          <a:p>
            <a:r>
              <a:rPr lang="en-US" sz="1600" b="1" dirty="0" smtClean="0"/>
              <a:t>Introduction</a:t>
            </a:r>
            <a:endParaRPr lang="en-US" sz="1600" b="1" dirty="0"/>
          </a:p>
        </p:txBody>
      </p:sp>
      <p:sp>
        <p:nvSpPr>
          <p:cNvPr id="15" name="TextBox 12"/>
          <p:cNvSpPr txBox="1"/>
          <p:nvPr/>
        </p:nvSpPr>
        <p:spPr>
          <a:xfrm>
            <a:off x="3023052" y="1706970"/>
            <a:ext cx="2695576" cy="533304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50800" tIns="50800" rIns="50800" bIns="50800" rtlCol="0" anchor="ctr"/>
          <a:lstStyle>
            <a:defPPr>
              <a:defRPr lang="en-US"/>
            </a:defPPr>
            <a:lvl1pPr lvl="0" indent="0" algn="ctr">
              <a:lnSpc>
                <a:spcPts val="4114"/>
              </a:lnSpc>
              <a:spcBef>
                <a:spcPct val="0"/>
              </a:spcBef>
              <a:defRPr sz="2000" spc="29">
                <a:solidFill>
                  <a:srgbClr val="FFFFFF"/>
                </a:solidFill>
                <a:latin typeface="DM Sans Bold"/>
              </a:defRPr>
            </a:lvl1pPr>
          </a:lstStyle>
          <a:p>
            <a:r>
              <a:rPr lang="en-US" sz="1600" b="1" dirty="0" smtClean="0"/>
              <a:t>Opportunities</a:t>
            </a:r>
            <a:endParaRPr lang="en-US" sz="1600" b="1" dirty="0"/>
          </a:p>
        </p:txBody>
      </p:sp>
      <p:sp>
        <p:nvSpPr>
          <p:cNvPr id="16" name="TextBox 12"/>
          <p:cNvSpPr txBox="1"/>
          <p:nvPr/>
        </p:nvSpPr>
        <p:spPr>
          <a:xfrm>
            <a:off x="5861953" y="1706970"/>
            <a:ext cx="2817590" cy="533304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50800" tIns="50800" rIns="50800" bIns="50800" rtlCol="0" anchor="ctr"/>
          <a:lstStyle>
            <a:defPPr>
              <a:defRPr lang="en-US"/>
            </a:defPPr>
            <a:lvl1pPr lvl="0" indent="0" algn="ctr">
              <a:lnSpc>
                <a:spcPts val="4114"/>
              </a:lnSpc>
              <a:spcBef>
                <a:spcPct val="0"/>
              </a:spcBef>
              <a:defRPr sz="2000" spc="29">
                <a:solidFill>
                  <a:srgbClr val="FFFFFF"/>
                </a:solidFill>
                <a:latin typeface="DM Sans Bold"/>
              </a:defRPr>
            </a:lvl1pPr>
          </a:lstStyle>
          <a:p>
            <a:r>
              <a:rPr lang="en-US" sz="1600" b="1" dirty="0"/>
              <a:t>Success and Challenges</a:t>
            </a:r>
            <a:endParaRPr lang="en-US" sz="1600" b="1" dirty="0"/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3" t="31985" r="19195" b="32460"/>
          <a:stretch/>
        </p:blipFill>
        <p:spPr>
          <a:xfrm>
            <a:off x="5882366" y="2329690"/>
            <a:ext cx="2610655" cy="1797216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163" b="-1512"/>
          <a:stretch/>
        </p:blipFill>
        <p:spPr>
          <a:xfrm>
            <a:off x="405995" y="2441580"/>
            <a:ext cx="2453319" cy="1685326"/>
          </a:xfrm>
          <a:prstGeom prst="rect">
            <a:avLst/>
          </a:prstGeom>
        </p:spPr>
      </p:pic>
      <p:sp>
        <p:nvSpPr>
          <p:cNvPr id="22" name="TextBox 12"/>
          <p:cNvSpPr txBox="1"/>
          <p:nvPr/>
        </p:nvSpPr>
        <p:spPr>
          <a:xfrm>
            <a:off x="8822868" y="1707194"/>
            <a:ext cx="2912841" cy="533304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50800" tIns="50800" rIns="50800" bIns="50800" rtlCol="0" anchor="ctr"/>
          <a:lstStyle>
            <a:defPPr>
              <a:defRPr lang="en-US"/>
            </a:defPPr>
            <a:lvl1pPr lvl="0" indent="0" algn="ctr">
              <a:lnSpc>
                <a:spcPts val="4114"/>
              </a:lnSpc>
              <a:spcBef>
                <a:spcPct val="0"/>
              </a:spcBef>
              <a:defRPr sz="2000" spc="29">
                <a:solidFill>
                  <a:srgbClr val="FFFFFF"/>
                </a:solidFill>
                <a:latin typeface="DM Sans Bold"/>
              </a:defRPr>
            </a:lvl1pPr>
          </a:lstStyle>
          <a:p>
            <a:r>
              <a:rPr lang="en-US" sz="1600" b="1" dirty="0" smtClean="0"/>
              <a:t>Sustainability in Mobility</a:t>
            </a:r>
            <a:endParaRPr lang="en-US" sz="1600" b="1" dirty="0"/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 rotWithShape="1">
          <a:blip r:embed="rId5"/>
          <a:srcRect l="48598" b="32192"/>
          <a:stretch/>
        </p:blipFill>
        <p:spPr>
          <a:xfrm>
            <a:off x="8822867" y="2329690"/>
            <a:ext cx="2912841" cy="18068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739131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dirty="0" smtClean="0"/>
              <a:t>Who are we? </a:t>
            </a:r>
            <a:endParaRPr lang="en-US" sz="3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3</a:t>
            </a:fld>
            <a:endParaRPr lang="en-US" sz="1000" dirty="0">
              <a:solidFill>
                <a:srgbClr val="ADAFBB"/>
              </a:solidFill>
            </a:endParaRPr>
          </a:p>
        </p:txBody>
      </p:sp>
      <p:sp>
        <p:nvSpPr>
          <p:cNvPr id="5" name="object 8"/>
          <p:cNvSpPr/>
          <p:nvPr/>
        </p:nvSpPr>
        <p:spPr>
          <a:xfrm>
            <a:off x="294983" y="1575252"/>
            <a:ext cx="11629412" cy="7554233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3B1A706-2E26-DC49-ACBC-C8AEB5566FCC}"/>
              </a:ext>
            </a:extLst>
          </p:cNvPr>
          <p:cNvSpPr txBox="1"/>
          <p:nvPr/>
        </p:nvSpPr>
        <p:spPr>
          <a:xfrm>
            <a:off x="514115" y="1691820"/>
            <a:ext cx="11073048" cy="1323439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The </a:t>
            </a:r>
            <a:r>
              <a:rPr lang="en-US" sz="2000" dirty="0" smtClean="0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International Cooperations Office at </a:t>
            </a:r>
            <a:r>
              <a:rPr lang="en-US" sz="2000" dirty="0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FAIR/GSI Darmstadt, Germany, provides international students and early stage researchers with opportunities to perform internships, traineeships and early-stage research experience in order to get involved in the international FAIR accelerator project while receiving scientific and technical training</a:t>
            </a:r>
            <a:r>
              <a:rPr lang="en-US" sz="2000" dirty="0" smtClean="0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. In addition to this, we develop meaning partnerships with stakeholders.</a:t>
            </a:r>
            <a:endParaRPr lang="en-US" sz="2000" dirty="0">
              <a:solidFill>
                <a:schemeClr val="bg1"/>
              </a:solidFill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30481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dirty="0" smtClean="0"/>
              <a:t>What are we working on? </a:t>
            </a:r>
            <a:endParaRPr lang="en-US" sz="3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4</a:t>
            </a:fld>
            <a:endParaRPr lang="en-US" sz="1000" dirty="0">
              <a:solidFill>
                <a:srgbClr val="ADAFBB"/>
              </a:solidFill>
            </a:endParaRPr>
          </a:p>
        </p:txBody>
      </p:sp>
      <p:sp>
        <p:nvSpPr>
          <p:cNvPr id="6" name="TextBox 12"/>
          <p:cNvSpPr txBox="1"/>
          <p:nvPr/>
        </p:nvSpPr>
        <p:spPr>
          <a:xfrm>
            <a:off x="594681" y="1637519"/>
            <a:ext cx="3535900" cy="622985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50800" tIns="50800" rIns="50800" bIns="50800" rtlCol="0" anchor="ctr"/>
          <a:lstStyle>
            <a:defPPr>
              <a:defRPr lang="en-US"/>
            </a:defPPr>
            <a:lvl1pPr lvl="0" indent="0" algn="ctr">
              <a:lnSpc>
                <a:spcPts val="4114"/>
              </a:lnSpc>
              <a:spcBef>
                <a:spcPct val="0"/>
              </a:spcBef>
              <a:defRPr sz="2000" spc="29">
                <a:solidFill>
                  <a:srgbClr val="FFFFFF"/>
                </a:solidFill>
                <a:latin typeface="DM Sans Bold"/>
              </a:defRPr>
            </a:lvl1pPr>
          </a:lstStyle>
          <a:p>
            <a:r>
              <a:rPr lang="en-US" b="1" dirty="0" smtClean="0"/>
              <a:t>Outreach for FAIR</a:t>
            </a:r>
            <a:endParaRPr lang="en-US" b="1" dirty="0"/>
          </a:p>
        </p:txBody>
      </p:sp>
      <p:sp>
        <p:nvSpPr>
          <p:cNvPr id="7" name="TextBox 12"/>
          <p:cNvSpPr txBox="1"/>
          <p:nvPr/>
        </p:nvSpPr>
        <p:spPr>
          <a:xfrm>
            <a:off x="4401910" y="1637519"/>
            <a:ext cx="3535900" cy="622985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50800" tIns="50800" rIns="50800" bIns="50800" rtlCol="0" anchor="ctr"/>
          <a:lstStyle>
            <a:defPPr>
              <a:defRPr lang="en-US"/>
            </a:defPPr>
            <a:lvl1pPr lvl="0" indent="0" algn="ctr">
              <a:lnSpc>
                <a:spcPts val="4114"/>
              </a:lnSpc>
              <a:spcBef>
                <a:spcPct val="0"/>
              </a:spcBef>
              <a:defRPr sz="2000" spc="29">
                <a:solidFill>
                  <a:srgbClr val="FFFFFF"/>
                </a:solidFill>
                <a:latin typeface="DM Sans Bold"/>
              </a:defRPr>
            </a:lvl1pPr>
          </a:lstStyle>
          <a:p>
            <a:r>
              <a:rPr lang="en-US" b="1" dirty="0" smtClean="0"/>
              <a:t>Mobility</a:t>
            </a:r>
            <a:endParaRPr lang="en-US" b="1" dirty="0"/>
          </a:p>
        </p:txBody>
      </p:sp>
      <p:sp>
        <p:nvSpPr>
          <p:cNvPr id="8" name="TextBox 12"/>
          <p:cNvSpPr txBox="1"/>
          <p:nvPr/>
        </p:nvSpPr>
        <p:spPr>
          <a:xfrm>
            <a:off x="8209139" y="1637519"/>
            <a:ext cx="3535900" cy="622985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50800" tIns="50800" rIns="50800" bIns="50800" rtlCol="0" anchor="ctr"/>
          <a:lstStyle>
            <a:defPPr>
              <a:defRPr lang="en-US"/>
            </a:defPPr>
            <a:lvl1pPr lvl="0" indent="0" algn="ctr">
              <a:lnSpc>
                <a:spcPts val="4114"/>
              </a:lnSpc>
              <a:spcBef>
                <a:spcPct val="0"/>
              </a:spcBef>
              <a:defRPr sz="2000" spc="29">
                <a:solidFill>
                  <a:srgbClr val="FFFFFF"/>
                </a:solidFill>
                <a:latin typeface="DM Sans Bold"/>
              </a:defRPr>
            </a:lvl1pPr>
          </a:lstStyle>
          <a:p>
            <a:r>
              <a:rPr lang="en-US" b="1" dirty="0" smtClean="0"/>
              <a:t>Strategic partnerships</a:t>
            </a:r>
            <a:endParaRPr lang="en-US" b="1" dirty="0"/>
          </a:p>
        </p:txBody>
      </p:sp>
      <p:sp>
        <p:nvSpPr>
          <p:cNvPr id="9" name="object 2"/>
          <p:cNvSpPr/>
          <p:nvPr/>
        </p:nvSpPr>
        <p:spPr>
          <a:xfrm>
            <a:off x="594681" y="2379311"/>
            <a:ext cx="3535900" cy="293291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3"/>
          <p:cNvSpPr/>
          <p:nvPr/>
        </p:nvSpPr>
        <p:spPr>
          <a:xfrm>
            <a:off x="8237508" y="2322772"/>
            <a:ext cx="3507531" cy="2989458"/>
          </a:xfrm>
          <a:prstGeom prst="rect">
            <a:avLst/>
          </a:prstGeom>
          <a:blipFill>
            <a:blip r:embed="rId3" cstate="print"/>
            <a:srcRect/>
            <a:stretch>
              <a:fillRect b="-9710"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4"/>
          <p:cNvSpPr/>
          <p:nvPr/>
        </p:nvSpPr>
        <p:spPr>
          <a:xfrm>
            <a:off x="4430279" y="2379311"/>
            <a:ext cx="3507531" cy="2932917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Rectangle 2"/>
          <p:cNvSpPr/>
          <p:nvPr/>
        </p:nvSpPr>
        <p:spPr>
          <a:xfrm>
            <a:off x="594681" y="5431035"/>
            <a:ext cx="353590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pc="-5" dirty="0">
                <a:solidFill>
                  <a:srgbClr val="1F1F20"/>
                </a:solidFill>
                <a:cs typeface="Arial"/>
              </a:rPr>
              <a:t>Dissemination of </a:t>
            </a:r>
            <a:r>
              <a:rPr lang="en-US" spc="-5" dirty="0" smtClean="0">
                <a:solidFill>
                  <a:srgbClr val="1F1F20"/>
                </a:solidFill>
                <a:cs typeface="Arial"/>
              </a:rPr>
              <a:t>Information </a:t>
            </a:r>
            <a:r>
              <a:rPr lang="en-US" spc="-5" dirty="0">
                <a:solidFill>
                  <a:srgbClr val="1F1F20"/>
                </a:solidFill>
                <a:cs typeface="Arial"/>
              </a:rPr>
              <a:t>at  </a:t>
            </a:r>
            <a:r>
              <a:rPr lang="en-US" dirty="0">
                <a:solidFill>
                  <a:srgbClr val="1F1F20"/>
                </a:solidFill>
                <a:cs typeface="Arial"/>
              </a:rPr>
              <a:t>strategic </a:t>
            </a:r>
            <a:r>
              <a:rPr lang="en-US" spc="-5" dirty="0">
                <a:solidFill>
                  <a:srgbClr val="1F1F20"/>
                </a:solidFill>
                <a:cs typeface="Arial"/>
              </a:rPr>
              <a:t>events </a:t>
            </a:r>
            <a:r>
              <a:rPr lang="en-US" dirty="0">
                <a:solidFill>
                  <a:srgbClr val="1F1F20"/>
                </a:solidFill>
                <a:cs typeface="Arial"/>
              </a:rPr>
              <a:t>to </a:t>
            </a:r>
            <a:r>
              <a:rPr lang="en-US" spc="-5" dirty="0" smtClean="0">
                <a:solidFill>
                  <a:srgbClr val="1F1F20"/>
                </a:solidFill>
                <a:cs typeface="Arial"/>
              </a:rPr>
              <a:t>generate </a:t>
            </a:r>
            <a:r>
              <a:rPr lang="en-US" dirty="0">
                <a:solidFill>
                  <a:srgbClr val="1F1F20"/>
                </a:solidFill>
                <a:cs typeface="Arial"/>
              </a:rPr>
              <a:t>interests in </a:t>
            </a:r>
            <a:r>
              <a:rPr lang="en-US" spc="-75" dirty="0" smtClean="0">
                <a:solidFill>
                  <a:srgbClr val="1F1F20"/>
                </a:solidFill>
                <a:cs typeface="Arial"/>
              </a:rPr>
              <a:t>FAIR </a:t>
            </a:r>
            <a:r>
              <a:rPr lang="en-US" spc="-5" dirty="0">
                <a:solidFill>
                  <a:srgbClr val="1F1F20"/>
                </a:solidFill>
                <a:cs typeface="Arial"/>
              </a:rPr>
              <a:t>research</a:t>
            </a:r>
            <a:r>
              <a:rPr lang="en-US" spc="55" dirty="0">
                <a:solidFill>
                  <a:srgbClr val="1F1F20"/>
                </a:solidFill>
                <a:cs typeface="Arial"/>
              </a:rPr>
              <a:t> </a:t>
            </a:r>
            <a:r>
              <a:rPr lang="en-US" spc="-5" dirty="0">
                <a:solidFill>
                  <a:srgbClr val="1F1F20"/>
                </a:solidFill>
                <a:cs typeface="Arial"/>
              </a:rPr>
              <a:t>pillars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4430279" y="5431035"/>
            <a:ext cx="353590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pc="25" dirty="0">
                <a:solidFill>
                  <a:srgbClr val="1F1F20"/>
                </a:solidFill>
                <a:cs typeface="Arial"/>
              </a:rPr>
              <a:t>Knowledge </a:t>
            </a:r>
            <a:r>
              <a:rPr lang="en-US" spc="-25" dirty="0" smtClean="0">
                <a:solidFill>
                  <a:srgbClr val="1F1F20"/>
                </a:solidFill>
                <a:cs typeface="Arial"/>
              </a:rPr>
              <a:t>Transfer </a:t>
            </a:r>
            <a:r>
              <a:rPr lang="en-US" spc="20" dirty="0">
                <a:solidFill>
                  <a:srgbClr val="1F1F20"/>
                </a:solidFill>
                <a:cs typeface="Arial"/>
              </a:rPr>
              <a:t>through  </a:t>
            </a:r>
            <a:r>
              <a:rPr lang="en-US" spc="15" dirty="0">
                <a:solidFill>
                  <a:srgbClr val="1F1F20"/>
                </a:solidFill>
                <a:cs typeface="Arial"/>
              </a:rPr>
              <a:t>Project </a:t>
            </a:r>
            <a:r>
              <a:rPr lang="en-US" spc="20" dirty="0">
                <a:solidFill>
                  <a:srgbClr val="1F1F20"/>
                </a:solidFill>
                <a:cs typeface="Arial"/>
              </a:rPr>
              <a:t>oriented </a:t>
            </a:r>
            <a:r>
              <a:rPr lang="en-US" spc="20" dirty="0" smtClean="0">
                <a:solidFill>
                  <a:srgbClr val="1F1F20"/>
                </a:solidFill>
                <a:cs typeface="Arial"/>
              </a:rPr>
              <a:t>Research</a:t>
            </a:r>
            <a:r>
              <a:rPr lang="en-US" spc="-55" dirty="0" smtClean="0">
                <a:solidFill>
                  <a:srgbClr val="1F1F20"/>
                </a:solidFill>
                <a:cs typeface="Arial"/>
              </a:rPr>
              <a:t> </a:t>
            </a:r>
            <a:r>
              <a:rPr lang="en-US" spc="15" dirty="0" smtClean="0">
                <a:solidFill>
                  <a:srgbClr val="1F1F20"/>
                </a:solidFill>
                <a:cs typeface="Arial"/>
              </a:rPr>
              <a:t>Mobility programs</a:t>
            </a:r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8265877" y="5431035"/>
            <a:ext cx="353590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pc="25" dirty="0" smtClean="0">
                <a:solidFill>
                  <a:srgbClr val="1F1F20"/>
                </a:solidFill>
                <a:cs typeface="Arial"/>
              </a:rPr>
              <a:t>Creating meaningful and sustainable partnership with a clear vision of mutual growth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265432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dirty="0" smtClean="0"/>
              <a:t>Why are we celebrating Erasmus Days now</a:t>
            </a:r>
            <a:endParaRPr lang="en-US" sz="3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5</a:t>
            </a:fld>
            <a:endParaRPr lang="en-US" sz="1000" dirty="0">
              <a:solidFill>
                <a:srgbClr val="ADAFBB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743B0D5-0628-49A8-B387-390080D1060F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296"/>
          <a:stretch/>
        </p:blipFill>
        <p:spPr>
          <a:xfrm flipH="1">
            <a:off x="275769" y="1596571"/>
            <a:ext cx="11520917" cy="5036143"/>
          </a:xfrm>
          <a:prstGeom prst="rect">
            <a:avLst/>
          </a:prstGeom>
        </p:spPr>
      </p:pic>
      <p:sp>
        <p:nvSpPr>
          <p:cNvPr id="14" name="TextBox 12"/>
          <p:cNvSpPr txBox="1"/>
          <p:nvPr/>
        </p:nvSpPr>
        <p:spPr>
          <a:xfrm>
            <a:off x="7112000" y="1797176"/>
            <a:ext cx="4684686" cy="622985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50800" tIns="50800" rIns="50800" bIns="50800" rtlCol="0" anchor="ctr"/>
          <a:lstStyle>
            <a:defPPr>
              <a:defRPr lang="en-US"/>
            </a:defPPr>
            <a:lvl1pPr lvl="0" indent="0" algn="ctr">
              <a:lnSpc>
                <a:spcPts val="4114"/>
              </a:lnSpc>
              <a:spcBef>
                <a:spcPct val="0"/>
              </a:spcBef>
              <a:defRPr sz="2000" spc="29">
                <a:solidFill>
                  <a:srgbClr val="FFFFFF"/>
                </a:solidFill>
                <a:latin typeface="DM Sans Bold"/>
              </a:defRPr>
            </a:lvl1pPr>
          </a:lstStyle>
          <a:p>
            <a:r>
              <a:rPr lang="en-US" b="1" dirty="0" smtClean="0"/>
              <a:t>Milestones</a:t>
            </a:r>
            <a:endParaRPr lang="en-US" b="1" dirty="0"/>
          </a:p>
        </p:txBody>
      </p:sp>
      <p:sp>
        <p:nvSpPr>
          <p:cNvPr id="15" name="Rectangle 14"/>
          <p:cNvSpPr/>
          <p:nvPr/>
        </p:nvSpPr>
        <p:spPr>
          <a:xfrm>
            <a:off x="7111999" y="2639390"/>
            <a:ext cx="4812396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spc="-5" dirty="0" smtClean="0">
                <a:solidFill>
                  <a:srgbClr val="1F1F20"/>
                </a:solidFill>
                <a:cs typeface="Arial"/>
              </a:rPr>
              <a:t>05 years of Erasmus+ Traineeship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spc="-5" dirty="0">
              <a:solidFill>
                <a:srgbClr val="1F1F20"/>
              </a:solidFill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spc="-5" dirty="0" smtClean="0">
                <a:solidFill>
                  <a:srgbClr val="1F1F20"/>
                </a:solidFill>
                <a:cs typeface="Arial"/>
              </a:rPr>
              <a:t>110 Erasmus Traineeship administer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spc="-5" dirty="0">
              <a:solidFill>
                <a:srgbClr val="1F1F20"/>
              </a:solidFill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spc="-5" dirty="0" smtClean="0">
                <a:solidFill>
                  <a:srgbClr val="1F1F20"/>
                </a:solidFill>
                <a:cs typeface="Arial"/>
              </a:rPr>
              <a:t>Trainees from 15+ Countries in the EU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spc="-5" dirty="0">
              <a:solidFill>
                <a:srgbClr val="1F1F20"/>
              </a:solidFill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spc="-5" dirty="0" smtClean="0">
                <a:solidFill>
                  <a:srgbClr val="1F1F20"/>
                </a:solidFill>
                <a:cs typeface="Arial"/>
              </a:rPr>
              <a:t>15+ partnerships in the framework of Erasmus+ Programm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spc="-5" dirty="0">
              <a:solidFill>
                <a:srgbClr val="1F1F20"/>
              </a:solidFill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42655291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115" y="365126"/>
            <a:ext cx="9603279" cy="1091318"/>
          </a:xfrm>
        </p:spPr>
        <p:txBody>
          <a:bodyPr>
            <a:noAutofit/>
          </a:bodyPr>
          <a:lstStyle/>
          <a:p>
            <a:r>
              <a:rPr lang="en-US" sz="2800" dirty="0" smtClean="0"/>
              <a:t>International Cooperation Office is working with more than 20 countries and more than 50 educational institutions in the EU. </a:t>
            </a:r>
            <a:endParaRPr lang="en-US" sz="28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7049193" y="1942391"/>
            <a:ext cx="4748772" cy="4249402"/>
          </a:xfrm>
        </p:spPr>
        <p:txBody>
          <a:bodyPr>
            <a:normAutofit lnSpcReduction="10000"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 smtClean="0"/>
              <a:t>1/4</a:t>
            </a:r>
            <a:r>
              <a:rPr lang="en-US" sz="2000" dirty="0" smtClean="0"/>
              <a:t> Incoming students or researchers are not from EU or not affiliated to any institute from EU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 smtClean="0"/>
              <a:t>Czech Republic, France, Poland, Romania, Slovenia </a:t>
            </a:r>
            <a:r>
              <a:rPr lang="en-US" sz="2000" dirty="0" smtClean="0"/>
              <a:t>are strong partners of the FAIR projec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/>
              <a:t>Scientists and institutes in the EU countries have been visiting and collaborating with GSI scientists since decade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/>
              <a:t>Erasmus+ </a:t>
            </a:r>
            <a:r>
              <a:rPr lang="en-US" sz="2000" b="1" dirty="0" smtClean="0"/>
              <a:t>programs </a:t>
            </a:r>
            <a:r>
              <a:rPr lang="en-US" sz="2000" dirty="0" smtClean="0"/>
              <a:t>to support mobility of young talented students who we need for future operations of FAIR. </a:t>
            </a:r>
            <a:endParaRPr lang="en-US" sz="2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6</a:t>
            </a:fld>
            <a:endParaRPr lang="en-US" sz="1000" dirty="0">
              <a:solidFill>
                <a:srgbClr val="ADAFBB"/>
              </a:solidFill>
            </a:endParaRPr>
          </a:p>
        </p:txBody>
      </p:sp>
      <p:sp>
        <p:nvSpPr>
          <p:cNvPr id="6" name="Freeform 11"/>
          <p:cNvSpPr/>
          <p:nvPr/>
        </p:nvSpPr>
        <p:spPr>
          <a:xfrm>
            <a:off x="10651508" y="365126"/>
            <a:ext cx="1146457" cy="1079069"/>
          </a:xfrm>
          <a:custGeom>
            <a:avLst/>
            <a:gdLst/>
            <a:ahLst/>
            <a:cxnLst/>
            <a:rect l="l" t="t" r="r" b="b"/>
            <a:pathLst>
              <a:path w="1962055" h="1962055">
                <a:moveTo>
                  <a:pt x="0" y="0"/>
                </a:moveTo>
                <a:lnTo>
                  <a:pt x="1962055" y="0"/>
                </a:lnTo>
                <a:lnTo>
                  <a:pt x="1962055" y="1962055"/>
                </a:lnTo>
                <a:lnTo>
                  <a:pt x="0" y="1962055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8484" y="1728094"/>
            <a:ext cx="5994949" cy="4627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251518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>
              <a:defRPr/>
            </a:pPr>
            <a:r>
              <a:rPr lang="en-US" sz="2600" dirty="0"/>
              <a:t>A short glimpse on the extent  to which the GET_INvolved  Programme has gained  progress and momentum to  acquire the talent and working  on ahead for partnership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7</a:t>
            </a:fld>
            <a:endParaRPr lang="en-US" sz="1000" dirty="0">
              <a:solidFill>
                <a:srgbClr val="ADAFBB"/>
              </a:solidFill>
            </a:endParaRPr>
          </a:p>
        </p:txBody>
      </p:sp>
      <p:pic>
        <p:nvPicPr>
          <p:cNvPr id="146" name="Picture 14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41464" y="1541895"/>
            <a:ext cx="9627985" cy="50908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08362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>
              <a:defRPr/>
            </a:pPr>
            <a:r>
              <a:rPr lang="en-US" sz="2600" dirty="0" smtClean="0"/>
              <a:t>In the 06</a:t>
            </a:r>
            <a:r>
              <a:rPr lang="en-US" sz="2600" dirty="0"/>
              <a:t>+ years </a:t>
            </a:r>
            <a:r>
              <a:rPr lang="en-US" sz="2600" dirty="0" smtClean="0"/>
              <a:t>of the GET_INvolved Programme, 350</a:t>
            </a:r>
            <a:r>
              <a:rPr lang="en-US" sz="2600" dirty="0"/>
              <a:t>+ young &amp; talented students/researchers have benefited of the GET_INvolved Programme. </a:t>
            </a:r>
            <a:r>
              <a:rPr lang="en-US" sz="2600" dirty="0" smtClean="0"/>
              <a:t/>
            </a:r>
            <a:br>
              <a:rPr lang="en-US" sz="2600" dirty="0" smtClean="0"/>
            </a:br>
            <a:r>
              <a:rPr lang="en-US" sz="2600" dirty="0" smtClean="0"/>
              <a:t>(</a:t>
            </a:r>
            <a:r>
              <a:rPr lang="en-US" sz="2600" dirty="0"/>
              <a:t>45% females, 50+ Nationalities)</a:t>
            </a:r>
            <a:r>
              <a:rPr lang="en-US" sz="2400" dirty="0"/>
              <a:t/>
            </a:r>
            <a:br>
              <a:rPr lang="en-US" sz="2400" dirty="0"/>
            </a:b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8</a:t>
            </a:fld>
            <a:endParaRPr lang="en-US" sz="1000" dirty="0">
              <a:solidFill>
                <a:srgbClr val="ADAFBB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/>
        </p:blipFill>
        <p:spPr bwMode="auto">
          <a:xfrm>
            <a:off x="-719599" y="1660525"/>
            <a:ext cx="9754106" cy="497218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</p:pic>
      <p:grpSp>
        <p:nvGrpSpPr>
          <p:cNvPr id="6" name="Group 5"/>
          <p:cNvGrpSpPr/>
          <p:nvPr/>
        </p:nvGrpSpPr>
        <p:grpSpPr bwMode="auto">
          <a:xfrm>
            <a:off x="9153019" y="1598001"/>
            <a:ext cx="2771376" cy="5020929"/>
            <a:chOff x="150257" y="-830841"/>
            <a:chExt cx="2809027" cy="5005127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3"/>
            <a:stretch/>
          </p:blipFill>
          <p:spPr bwMode="auto">
            <a:xfrm>
              <a:off x="150257" y="-830841"/>
              <a:ext cx="2809027" cy="4273949"/>
            </a:xfrm>
            <a:prstGeom prst="rect">
              <a:avLst/>
            </a:prstGeom>
            <a:noFill/>
          </p:spPr>
        </p:pic>
        <p:sp>
          <p:nvSpPr>
            <p:cNvPr id="8" name="Text Box 50"/>
            <p:cNvSpPr txBox="1"/>
            <p:nvPr/>
          </p:nvSpPr>
          <p:spPr bwMode="auto">
            <a:xfrm>
              <a:off x="222814" y="3568986"/>
              <a:ext cx="2582111" cy="605300"/>
            </a:xfrm>
            <a:prstGeom prst="rect">
              <a:avLst/>
            </a:prstGeom>
            <a:solidFill>
              <a:prstClr val="white"/>
            </a:solidFill>
            <a:ln>
              <a:noFill/>
            </a:ln>
          </p:spPr>
          <p:txBody>
            <a:bodyPr rot="0" spcFirstLastPara="0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algn="l">
                <a:spcBef>
                  <a:spcPts val="0"/>
                </a:spcBef>
                <a:spcAft>
                  <a:spcPts val="1000"/>
                </a:spcAft>
              </a:pPr>
              <a:r>
                <a:rPr lang="en-GB" sz="900" b="1" i="1" dirty="0" smtClean="0">
                  <a:solidFill>
                    <a:srgbClr val="1F497D"/>
                  </a:solidFill>
                  <a:effectLst/>
                  <a:latin typeface="Arial" panose="020B0604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Year-wise </a:t>
              </a:r>
              <a:r>
                <a:rPr lang="en-GB" sz="900" b="1" i="1" dirty="0">
                  <a:solidFill>
                    <a:srgbClr val="1F497D"/>
                  </a:solidFill>
                  <a:effectLst/>
                  <a:latin typeface="Arial" panose="020B0604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intake of participants administered with in the GET_INvolved programme by International Cooperations Unit. </a:t>
              </a:r>
              <a:r>
                <a:rPr lang="en-GB" sz="900" b="1" i="1" dirty="0" smtClean="0">
                  <a:solidFill>
                    <a:srgbClr val="1F497D"/>
                  </a:solidFill>
                  <a:effectLst/>
                  <a:latin typeface="Arial" panose="020B0604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/>
              </a:r>
              <a:br>
                <a:rPr lang="en-GB" sz="900" b="1" i="1" dirty="0" smtClean="0">
                  <a:solidFill>
                    <a:srgbClr val="1F497D"/>
                  </a:solidFill>
                  <a:effectLst/>
                  <a:latin typeface="Arial" panose="020B0604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</a:br>
              <a:r>
                <a:rPr lang="en-GB" sz="900" b="1" i="1" dirty="0" smtClean="0">
                  <a:solidFill>
                    <a:srgbClr val="1F497D"/>
                  </a:solidFill>
                  <a:effectLst/>
                  <a:latin typeface="Arial" panose="020B0604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[</a:t>
              </a:r>
              <a:r>
                <a:rPr lang="en-GB" sz="900" b="1" i="1" dirty="0">
                  <a:solidFill>
                    <a:srgbClr val="1F497D"/>
                  </a:solidFill>
                  <a:effectLst/>
                  <a:latin typeface="Arial" panose="020B0604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data: 30 June2023]</a:t>
              </a:r>
              <a:endParaRPr lang="en-US" sz="900" b="1" i="1" dirty="0">
                <a:solidFill>
                  <a:srgbClr val="1F497D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189729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832FE54-3FF5-4B4C-8DBC-DAAD65190EA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56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832FE54-3FF5-4B4C-8DBC-DAAD65190E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D9313AF4-C8B1-42E4-ACB5-22D9C13E370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D029769-9B2F-4A51-8446-2206A9A2EF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9</a:t>
            </a:fld>
            <a:endParaRPr lang="en-US" sz="1000" dirty="0">
              <a:solidFill>
                <a:srgbClr val="ADAFBB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F4EE5F8-9590-D51A-8C97-146730CFCC30}"/>
              </a:ext>
            </a:extLst>
          </p:cNvPr>
          <p:cNvSpPr txBox="1"/>
          <p:nvPr/>
        </p:nvSpPr>
        <p:spPr>
          <a:xfrm>
            <a:off x="1246139" y="5708550"/>
            <a:ext cx="51090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nternational-cooperations@fair-center.eu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5261080C-C60C-4746-B6B1-A9A4FFA86785}"/>
              </a:ext>
            </a:extLst>
          </p:cNvPr>
          <p:cNvSpPr txBox="1">
            <a:spLocks/>
          </p:cNvSpPr>
          <p:nvPr/>
        </p:nvSpPr>
        <p:spPr>
          <a:xfrm>
            <a:off x="595154" y="1672378"/>
            <a:ext cx="11329241" cy="196716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sz="4400" dirty="0" smtClean="0"/>
              <a:t>Thank you!</a:t>
            </a:r>
            <a:endParaRPr lang="en-US" sz="4800" b="0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5261080C-C60C-4746-B6B1-A9A4FFA86785}"/>
              </a:ext>
            </a:extLst>
          </p:cNvPr>
          <p:cNvSpPr txBox="1">
            <a:spLocks/>
          </p:cNvSpPr>
          <p:nvPr/>
        </p:nvSpPr>
        <p:spPr>
          <a:xfrm>
            <a:off x="711200" y="2856649"/>
            <a:ext cx="4368800" cy="563395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sz="2000" dirty="0" smtClean="0"/>
              <a:t>Discover. Connect. GET_INvolved!</a:t>
            </a:r>
            <a:endParaRPr lang="en-US" b="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11200" y="5561202"/>
            <a:ext cx="664029" cy="664029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7891378" y="5697441"/>
            <a:ext cx="37027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www.fair-center.eu/get_involved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212835" y="5542835"/>
            <a:ext cx="678543" cy="678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19191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GsCkNkRhuL49EEhsihu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0ZvYtoH25toepY54m.d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sEHY7w9p97v31oJEX9mA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Fj9g7Zy2LthORA4sdbv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UH_xXmEzv2_WM4PaUPu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pVEWO7WWN9QWB4K3IhIZ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79bA2qzL_OI5CL_ti06G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R6aM223bIQD9wUkDKexQ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RfShUQN8FTtAcrfF62S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RMdNNrHr.Fz6OlAn.Ym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7i94FaZZ9FSlDn.04Kz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7_1v.nYhFFi2BwYyULJx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JhBuMYoa_dtSDYHoSM8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3ZwReGEvdtA3.xm0sCkt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NPk81ErqvxUDanQSKAt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9TWRIS3ZY61o6K1QciUN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jKafwDCz_uITgUxTl_0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j1QEDEsmIAqRe7J7vvY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qVvqDrREqN3Yla8_WSbs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bUodDbSucibtR54OvZp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hC6_kDFXJyN_hOBaRMk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P_SPypkSEHWCdIYyiD1Z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ex4lEZb51ZHDV6yZ5nX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zsSmMf1Ire38WgrFfDT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UOp_ddDihdvoojH6YBn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B9PmGrFh5dR8FgxnrX9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9V2KKbjTL1mzGbs8rjjo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M08TMrFoN9ALYrdVys.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5jvStlLRMV8mpM3YOc0r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3qomJi.K3U9oEXE7OFa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u4gUWU8MlMuyVogI3md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UO9SlSwOJBNSQq.CSP42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2sQ5WF.vJ9It7PHwATp2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e0Gf_bimlPNzimQizje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E3LID6yL11qrCsKc08Px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9pS5c_u2rcscH0p4y0Yx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CGo3lxPmK8flqAW0bYK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CeUDcePKgj0xqcnmv_p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MKida.MS5kMGRUFsWFZv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rBXLfPuxm3QOk.BDCfR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GsCkNkRhuL49EEhsihu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0ZvYtoH25toepY54m.d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GsCkNkRhuL49EEhsihu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0ZvYtoH25toepY54m.d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eme3">
  <a:themeElements>
    <a:clrScheme name="Custom 1">
      <a:dk1>
        <a:srgbClr val="FFFFFF"/>
      </a:dk1>
      <a:lt1>
        <a:srgbClr val="002060"/>
      </a:lt1>
      <a:dk2>
        <a:srgbClr val="002060"/>
      </a:dk2>
      <a:lt2>
        <a:srgbClr val="002060"/>
      </a:lt2>
      <a:accent1>
        <a:srgbClr val="002060"/>
      </a:accent1>
      <a:accent2>
        <a:srgbClr val="00B0F0"/>
      </a:accent2>
      <a:accent3>
        <a:srgbClr val="00B050"/>
      </a:accent3>
      <a:accent4>
        <a:srgbClr val="92D050"/>
      </a:accent4>
      <a:accent5>
        <a:srgbClr val="FFC000"/>
      </a:accent5>
      <a:accent6>
        <a:srgbClr val="FF000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16. Design Thinking Toolkit - Overview and Approach.pptx" id="{FDB5D224-FA1D-4E68-9A86-295D1A1E3C03}" vid="{3D28E9A7-78AB-4828-B5D8-0C11697C1AA0}"/>
    </a:ext>
  </a:ext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3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16. Design Thinking Toolkit - Overview and Approach.pptx" id="{FDB5D224-FA1D-4E68-9A86-295D1A1E3C03}" vid="{FD54125E-57C9-4790-A828-4343F3FF56E6}"/>
    </a:ext>
  </a:extLst>
</a:theme>
</file>

<file path=ppt/theme/theme3.xml><?xml version="1.0" encoding="utf-8"?>
<a:theme xmlns:a="http://schemas.openxmlformats.org/drawingml/2006/main" name="34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16. Design Thinking Toolkit - Overview and Approach.pptx" id="{FDB5D224-FA1D-4E68-9A86-295D1A1E3C03}" vid="{CF23A3E3-F013-474F-BBB9-B24D9B38B774}"/>
    </a:ext>
  </a:extLst>
</a:theme>
</file>

<file path=ppt/theme/theme4.xml><?xml version="1.0" encoding="utf-8"?>
<a:theme xmlns:a="http://schemas.openxmlformats.org/drawingml/2006/main" name="35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16. Design Thinking Toolkit - Overview and Approach.pptx" id="{FDB5D224-FA1D-4E68-9A86-295D1A1E3C03}" vid="{C29ADA61-D3AA-4B26-A86D-372134CF2415}"/>
    </a:ext>
  </a:extLst>
</a:theme>
</file>

<file path=ppt/theme/theme5.xml><?xml version="1.0" encoding="utf-8"?>
<a:theme xmlns:a="http://schemas.openxmlformats.org/drawingml/2006/main" name="36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16. Design Thinking Toolkit - Overview and Approach.pptx" id="{FDB5D224-FA1D-4E68-9A86-295D1A1E3C03}" vid="{AF78029A-E1B7-439A-8E2D-BADACC60CC83}"/>
    </a:ext>
  </a:extLst>
</a:theme>
</file>

<file path=ppt/theme/theme6.xml><?xml version="1.0" encoding="utf-8"?>
<a:theme xmlns:a="http://schemas.openxmlformats.org/drawingml/2006/main" name="37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16. Design Thinking Toolkit - Overview and Approach.pptx" id="{FDB5D224-FA1D-4E68-9A86-295D1A1E3C03}" vid="{286C14C1-4319-425C-8D4B-7E536E3288B0}"/>
    </a:ext>
  </a:extLst>
</a:theme>
</file>

<file path=ppt/theme/theme7.xml><?xml version="1.0" encoding="utf-8"?>
<a:theme xmlns:a="http://schemas.openxmlformats.org/drawingml/2006/main" name="38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16. Design Thinking Toolkit - Overview and Approach.pptx" id="{FDB5D224-FA1D-4E68-9A86-295D1A1E3C03}" vid="{D654CA20-7BB9-4E01-B1B4-33F1F218C946}"/>
    </a:ext>
  </a:extLst>
</a:theme>
</file>

<file path=ppt/theme/theme8.xml><?xml version="1.0" encoding="utf-8"?>
<a:theme xmlns:a="http://schemas.openxmlformats.org/drawingml/2006/main" name="39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16. Design Thinking Toolkit - Overview and Approach.pptx" id="{FDB5D224-FA1D-4E68-9A86-295D1A1E3C03}" vid="{88881D8E-B00F-487D-83E2-959ABD580F8A}"/>
    </a:ext>
  </a:extLst>
</a:theme>
</file>

<file path=ppt/theme/theme9.xml><?xml version="1.0" encoding="utf-8"?>
<a:theme xmlns:a="http://schemas.openxmlformats.org/drawingml/2006/main" name="40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16. Design Thinking Toolkit - Overview and Approach.pptx" id="{FDB5D224-FA1D-4E68-9A86-295D1A1E3C03}" vid="{C14BA7AC-B086-405E-848A-95166E2D6D84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F111ED35F8CC479449609E8A0923A6" ma:contentTypeVersion="12" ma:contentTypeDescription="Create a new document." ma:contentTypeScope="" ma:versionID="a8a52e8c320b9a064ae3583ae3861c92">
  <xsd:schema xmlns:xsd="http://www.w3.org/2001/XMLSchema" xmlns:xs="http://www.w3.org/2001/XMLSchema" xmlns:p="http://schemas.microsoft.com/office/2006/metadata/properties" xmlns:ns2="71af3243-3dd4-4a8d-8c0d-dd76da1f02a5" xmlns:ns3="16c05727-aa75-4e4a-9b5f-8a80a1165891" targetNamespace="http://schemas.microsoft.com/office/2006/metadata/properties" ma:root="true" ma:fieldsID="88020cb39231a0945110f9cd888b521a" ns2:_="" ns3:_="">
    <xsd:import namespace="71af3243-3dd4-4a8d-8c0d-dd76da1f02a5"/>
    <xsd:import namespace="16c05727-aa75-4e4a-9b5f-8a80a11658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CR" minOccurs="0"/>
                <xsd:element ref="ns2:MediaServiceAutoTags" minOccurs="0"/>
                <xsd:element ref="ns2:MediaServiceEventHashCode" minOccurs="0"/>
                <xsd:element ref="ns2:MediaServiceGenerationTim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Statu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af3243-3dd4-4a8d-8c0d-dd76da1f02a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0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fals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Status" ma:index="19" nillable="true" ma:displayName="Status" ma:default="Not started" ma:format="Dropdown" ma:internalName="Status">
      <xsd:simpleType>
        <xsd:restriction base="dms:Choice">
          <xsd:enumeration value="Not started"/>
          <xsd:enumeration value="In Progress"/>
          <xsd:enumeration value="Completed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c05727-aa75-4e4a-9b5f-8a80a1165891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tatus xmlns="71af3243-3dd4-4a8d-8c0d-dd76da1f02a5">Not started</Status>
    <MediaServiceKeyPoints xmlns="71af3243-3dd4-4a8d-8c0d-dd76da1f02a5" xsi:nil="true"/>
  </documentManagement>
</p:properties>
</file>

<file path=customXml/itemProps1.xml><?xml version="1.0" encoding="utf-8"?>
<ds:datastoreItem xmlns:ds="http://schemas.openxmlformats.org/officeDocument/2006/customXml" ds:itemID="{7EE8C63A-4744-4DE4-BB49-0FF0B5375C6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D7FC771-7DFE-49DA-B577-71181BFBCB2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1af3243-3dd4-4a8d-8c0d-dd76da1f02a5"/>
    <ds:schemaRef ds:uri="16c05727-aa75-4e4a-9b5f-8a80a116589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950072C5-DDE0-4258-BA7A-4D4B80DFA632}">
  <ds:schemaRefs>
    <ds:schemaRef ds:uri="http://purl.org/dc/terms/"/>
    <ds:schemaRef ds:uri="http://schemas.openxmlformats.org/package/2006/metadata/core-properties"/>
    <ds:schemaRef ds:uri="16c05727-aa75-4e4a-9b5f-8a80a1165891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71af3243-3dd4-4a8d-8c0d-dd76da1f02a5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66</Words>
  <Application>Microsoft Office PowerPoint</Application>
  <PresentationFormat>Widescreen</PresentationFormat>
  <Paragraphs>49</Paragraphs>
  <Slides>9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24" baseType="lpstr">
      <vt:lpstr>Arial</vt:lpstr>
      <vt:lpstr>Calibri</vt:lpstr>
      <vt:lpstr>DM Sans Bold</vt:lpstr>
      <vt:lpstr>Lato Light</vt:lpstr>
      <vt:lpstr>Times New Roman</vt:lpstr>
      <vt:lpstr>Theme3</vt:lpstr>
      <vt:lpstr>33_Custom Design</vt:lpstr>
      <vt:lpstr>34_Custom Design</vt:lpstr>
      <vt:lpstr>35_Custom Design</vt:lpstr>
      <vt:lpstr>36_Custom Design</vt:lpstr>
      <vt:lpstr>37_Custom Design</vt:lpstr>
      <vt:lpstr>38_Custom Design</vt:lpstr>
      <vt:lpstr>39_Custom Design</vt:lpstr>
      <vt:lpstr>40_Custom Design</vt:lpstr>
      <vt:lpstr>think-cell Slide</vt:lpstr>
      <vt:lpstr>Discover #ErasmusDays @ FAIR/GSI</vt:lpstr>
      <vt:lpstr>Plan for the Day</vt:lpstr>
      <vt:lpstr>Who are we? </vt:lpstr>
      <vt:lpstr>What are we working on? </vt:lpstr>
      <vt:lpstr>Why are we celebrating Erasmus Days now</vt:lpstr>
      <vt:lpstr>International Cooperation Office is working with more than 20 countries and more than 50 educational institutions in the EU. </vt:lpstr>
      <vt:lpstr>A short glimpse on the extent  to which the GET_INvolved  Programme has gained  progress and momentum to  acquire the talent and working  on ahead for partnerships</vt:lpstr>
      <vt:lpstr>In the 06+ years of the GET_INvolved Programme, 350+ young &amp; talented students/researchers have benefited of the GET_INvolved Programme.  (45% females, 50+ Nationalities) </vt:lpstr>
      <vt:lpstr>PowerPoint Presentation</vt:lpstr>
    </vt:vector>
  </TitlesOfParts>
  <Manager>Pradeep Ghosh</Manager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ernational Coperations</dc:title>
  <dc:subject>Erasmus+</dc:subject>
  <dc:creator>Ghosh, Pradeep Dr.</dc:creator>
  <cp:keywords>ICO</cp:keywords>
  <cp:lastModifiedBy>Ghosh, Pradeep Dr.</cp:lastModifiedBy>
  <cp:revision>494</cp:revision>
  <dcterms:created xsi:type="dcterms:W3CDTF">2020-07-08T04:44:55Z</dcterms:created>
  <dcterms:modified xsi:type="dcterms:W3CDTF">2023-10-09T05:49:15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9F111ED35F8CC479449609E8A0923A6</vt:lpwstr>
  </property>
</Properties>
</file>